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heme/themeOverride1.xml" ContentType="application/vnd.openxmlformats-officedocument.themeOverride+xml"/>
  <Override PartName="/ppt/notesSlides/notesSlide24.xml" ContentType="application/vnd.openxmlformats-officedocument.presentationml.notesSlide+xml"/>
  <Override PartName="/ppt/theme/themeOverride2.xml" ContentType="application/vnd.openxmlformats-officedocument.themeOverride+xml"/>
  <Override PartName="/ppt/notesSlides/notesSlide25.xml" ContentType="application/vnd.openxmlformats-officedocument.presentationml.notesSlide+xml"/>
  <Override PartName="/ppt/theme/themeOverride3.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6"/>
  </p:sldMasterIdLst>
  <p:notesMasterIdLst>
    <p:notesMasterId r:id="rId39"/>
  </p:notesMasterIdLst>
  <p:handoutMasterIdLst>
    <p:handoutMasterId r:id="rId40"/>
  </p:handoutMasterIdLst>
  <p:sldIdLst>
    <p:sldId id="256" r:id="rId7"/>
    <p:sldId id="7087" r:id="rId8"/>
    <p:sldId id="7094" r:id="rId9"/>
    <p:sldId id="934" r:id="rId10"/>
    <p:sldId id="937" r:id="rId11"/>
    <p:sldId id="7100" r:id="rId12"/>
    <p:sldId id="921" r:id="rId13"/>
    <p:sldId id="7089" r:id="rId14"/>
    <p:sldId id="922" r:id="rId15"/>
    <p:sldId id="7090" r:id="rId16"/>
    <p:sldId id="7110" r:id="rId17"/>
    <p:sldId id="7113" r:id="rId18"/>
    <p:sldId id="634" r:id="rId19"/>
    <p:sldId id="920" r:id="rId20"/>
    <p:sldId id="913" r:id="rId21"/>
    <p:sldId id="7106" r:id="rId22"/>
    <p:sldId id="7095" r:id="rId23"/>
    <p:sldId id="929" r:id="rId24"/>
    <p:sldId id="7114" r:id="rId25"/>
    <p:sldId id="933" r:id="rId26"/>
    <p:sldId id="7091" r:id="rId27"/>
    <p:sldId id="927" r:id="rId28"/>
    <p:sldId id="7093" r:id="rId29"/>
    <p:sldId id="930" r:id="rId30"/>
    <p:sldId id="942" r:id="rId31"/>
    <p:sldId id="943" r:id="rId32"/>
    <p:sldId id="944" r:id="rId33"/>
    <p:sldId id="945" r:id="rId34"/>
    <p:sldId id="292" r:id="rId35"/>
    <p:sldId id="7101" r:id="rId36"/>
    <p:sldId id="939" r:id="rId37"/>
    <p:sldId id="260" r:id="rId38"/>
  </p:sldIdLst>
  <p:sldSz cx="12192000" cy="6858000"/>
  <p:notesSz cx="7772400" cy="14173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4464" userDrawn="1">
          <p15:clr>
            <a:srgbClr val="A4A3A4"/>
          </p15:clr>
        </p15:guide>
        <p15:guide id="2" pos="244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colas Ho" initials="NH" lastIdx="1" clrIdx="0">
    <p:extLst>
      <p:ext uri="{19B8F6BF-5375-455C-9EA6-DF929625EA0E}">
        <p15:presenceInfo xmlns:p15="http://schemas.microsoft.com/office/powerpoint/2012/main" userId="S::nicolas.ho@ca.abb.com::a35f324b-1579-4b75-8459-a0976dcbef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Styl jasny 1 — Ak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D083AE6-46FA-4A59-8FB0-9F97EB10719F}" styleName="Styl jasny 3 — Ak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D5ABB26-0587-4C30-8999-92F81FD0307C}" styleName="Bez stylu, bez siatki">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73F8A54-F971-430D-9108-034FE38666EA}" styleName="ABB Default Table">
    <a:wholeTbl>
      <a:tcTxStyle>
        <a:fontRef idx="minor">
          <a:prstClr val="black"/>
        </a:fontRef>
        <a:schemeClr val="dk1"/>
      </a:tcTxStyle>
      <a:tcStyle>
        <a:tcBdr>
          <a:left>
            <a:ln>
              <a:noFill/>
            </a:ln>
          </a:left>
          <a:right>
            <a:ln>
              <a:noFill/>
            </a:ln>
          </a:right>
          <a:top>
            <a:ln>
              <a:noFill/>
            </a:ln>
          </a:top>
          <a:bottom>
            <a:ln w="0" cmpd="sng">
              <a:solidFill>
                <a:schemeClr val="dk1"/>
              </a:solidFill>
            </a:ln>
          </a:bottom>
          <a:insideH>
            <a:ln w="7500" cmpd="sng">
              <a:solidFill>
                <a:schemeClr val="dk1"/>
              </a:solidFill>
            </a:ln>
          </a:insideH>
          <a:insideV>
            <a:ln>
              <a:no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lt1"/>
          </a:solidFill>
        </a:fill>
      </a:tcStyle>
    </a:band1V>
    <a:band2V>
      <a:tcStyle>
        <a:tcBdr/>
      </a:tcStyle>
    </a:band2V>
    <a:lastCol>
      <a:tcTxStyle b="off">
        <a:fontRef idx="minor">
          <a:schemeClr val="dk1"/>
        </a:fontRef>
        <a:schemeClr val="dk1"/>
      </a:tcTxStyle>
      <a:tcStyle>
        <a:tcBdr/>
        <a:fill>
          <a:solidFill>
            <a:schemeClr val="accent5"/>
          </a:solidFill>
        </a:fill>
      </a:tcStyle>
    </a:lastCol>
    <a:firstCol>
      <a:tcTxStyle b="on">
        <a:fontRef idx="minor">
          <a:schemeClr val="dk1"/>
        </a:fontRef>
        <a:schemeClr val="dk1"/>
      </a:tcTxStyle>
      <a:tcStyle>
        <a:tcBdr/>
        <a:fill>
          <a:solidFill>
            <a:schemeClr val="lt1"/>
          </a:solidFill>
        </a:fill>
      </a:tcStyle>
    </a:firstCol>
    <a:lastRow>
      <a:tcTxStyle b="off">
        <a:fontRef idx="minor">
          <a:prstClr val="black"/>
        </a:fontRef>
        <a:schemeClr val="lt1"/>
      </a:tcTxStyle>
      <a:tcStyle>
        <a:tcBdr/>
        <a:fill>
          <a:solidFill>
            <a:schemeClr val="accent5"/>
          </a:solidFill>
        </a:fill>
      </a:tcStyle>
    </a:lastRow>
    <a:firstRow>
      <a:tcTxStyle b="on">
        <a:fontRef idx="minor">
          <a:prstClr val="black"/>
        </a:fontRef>
        <a:schemeClr val="tx2"/>
      </a:tcTxStyle>
      <a:tcStyle>
        <a:tcBdr>
          <a:bottom>
            <a:ln w="15000" cmpd="sng">
              <a:solidFill>
                <a:schemeClr val="dk1"/>
              </a:solidFill>
            </a:ln>
          </a:bottom>
        </a:tcBdr>
        <a:fill>
          <a:solidFill>
            <a:schemeClr val="l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8065" autoAdjust="0"/>
  </p:normalViewPr>
  <p:slideViewPr>
    <p:cSldViewPr snapToGrid="0" snapToObjects="1" showGuides="1">
      <p:cViewPr varScale="1">
        <p:scale>
          <a:sx n="86" d="100"/>
          <a:sy n="86" d="100"/>
        </p:scale>
        <p:origin x="562" y="58"/>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snapToObjects="1" showGuides="1">
      <p:cViewPr varScale="1">
        <p:scale>
          <a:sx n="84" d="100"/>
          <a:sy n="84" d="100"/>
        </p:scale>
        <p:origin x="-3804" y="-78"/>
      </p:cViewPr>
      <p:guideLst>
        <p:guide orient="horz" pos="4464"/>
        <p:guide pos="244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0" y="1"/>
            <a:ext cx="3368040" cy="708660"/>
          </a:xfrm>
          <a:prstGeom prst="rect">
            <a:avLst/>
          </a:prstGeom>
        </p:spPr>
        <p:txBody>
          <a:bodyPr vert="horz" lIns="125382" tIns="62691" rIns="125382" bIns="62691" rtlCol="0"/>
          <a:lstStyle>
            <a:lvl1pPr algn="l">
              <a:defRPr sz="1600"/>
            </a:lvl1pPr>
          </a:lstStyle>
          <a:p>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3" name="Date Placeholder 2"/>
          <p:cNvSpPr>
            <a:spLocks noGrp="1"/>
          </p:cNvSpPr>
          <p:nvPr>
            <p:ph type="dt" sz="quarter" idx="1"/>
          </p:nvPr>
        </p:nvSpPr>
        <p:spPr bwMode="gray">
          <a:xfrm>
            <a:off x="4402562" y="1"/>
            <a:ext cx="3368040" cy="708660"/>
          </a:xfrm>
          <a:prstGeom prst="rect">
            <a:avLst/>
          </a:prstGeom>
        </p:spPr>
        <p:txBody>
          <a:bodyPr vert="horz" lIns="125382" tIns="62691" rIns="125382" bIns="62691" rtlCol="0"/>
          <a:lstStyle>
            <a:lvl1pPr algn="r">
              <a:defRPr sz="1600"/>
            </a:lvl1pPr>
          </a:lstStyle>
          <a:p>
            <a:fld id="{696490A3-8906-4C15-BA06-29841194A30F}" type="datetimeFigureOut">
              <a:rPr lang="en-US" smtClean="0">
                <a:latin typeface="ABBvoice" panose="020D0603020503020204" pitchFamily="34" charset="0"/>
                <a:ea typeface="ABBvoice" panose="020D0603020503020204" pitchFamily="34" charset="0"/>
                <a:cs typeface="ABBvoice" panose="020D0603020503020204" pitchFamily="34" charset="0"/>
              </a:rPr>
              <a:t>6/17/2021</a:t>
            </a:fld>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4" name="Footer Placeholder 3"/>
          <p:cNvSpPr>
            <a:spLocks noGrp="1"/>
          </p:cNvSpPr>
          <p:nvPr>
            <p:ph type="ftr" sz="quarter" idx="2"/>
          </p:nvPr>
        </p:nvSpPr>
        <p:spPr bwMode="gray">
          <a:xfrm>
            <a:off x="0" y="13462081"/>
            <a:ext cx="3368040" cy="708660"/>
          </a:xfrm>
          <a:prstGeom prst="rect">
            <a:avLst/>
          </a:prstGeom>
        </p:spPr>
        <p:txBody>
          <a:bodyPr vert="horz" lIns="125382" tIns="62691" rIns="125382" bIns="62691" rtlCol="0" anchor="b"/>
          <a:lstStyle>
            <a:lvl1pPr algn="l">
              <a:defRPr sz="1600"/>
            </a:lvl1pPr>
          </a:lstStyle>
          <a:p>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5" name="Slide Number Placeholder 4"/>
          <p:cNvSpPr>
            <a:spLocks noGrp="1"/>
          </p:cNvSpPr>
          <p:nvPr>
            <p:ph type="sldNum" sz="quarter" idx="3"/>
          </p:nvPr>
        </p:nvSpPr>
        <p:spPr bwMode="gray">
          <a:xfrm>
            <a:off x="4402562" y="13462081"/>
            <a:ext cx="3368040" cy="708660"/>
          </a:xfrm>
          <a:prstGeom prst="rect">
            <a:avLst/>
          </a:prstGeom>
        </p:spPr>
        <p:txBody>
          <a:bodyPr vert="horz" lIns="125382" tIns="62691" rIns="125382" bIns="62691" rtlCol="0" anchor="b"/>
          <a:lstStyle>
            <a:lvl1pPr algn="r">
              <a:defRPr sz="1600"/>
            </a:lvl1pPr>
          </a:lstStyle>
          <a:p>
            <a:fld id="{CDABD733-F72C-4484-8056-9C6167F848BC}" type="slidenum">
              <a:rPr lang="en-US" smtClean="0">
                <a:latin typeface="ABBvoice" panose="020D0603020503020204" pitchFamily="34" charset="0"/>
                <a:ea typeface="ABBvoice" panose="020D0603020503020204" pitchFamily="34" charset="0"/>
                <a:cs typeface="ABBvoice" panose="020D0603020503020204" pitchFamily="34" charset="0"/>
              </a:rPr>
              <a:t>‹#›</a:t>
            </a:fld>
            <a:endParaRPr lang="en-US" dirty="0">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35656115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0" y="1"/>
            <a:ext cx="3368040" cy="708660"/>
          </a:xfrm>
          <a:prstGeom prst="rect">
            <a:avLst/>
          </a:prstGeom>
        </p:spPr>
        <p:txBody>
          <a:bodyPr vert="horz" lIns="125382" tIns="62691" rIns="125382" bIns="62691" rtlCol="0"/>
          <a:lstStyle>
            <a:lvl1pPr algn="l">
              <a:defRPr sz="1600">
                <a:latin typeface="ABBvoice" panose="020D0603020503020204" pitchFamily="34" charset="0"/>
                <a:ea typeface="ABBvoice" panose="020D0603020503020204" pitchFamily="34" charset="0"/>
                <a:cs typeface="ABBvoice" panose="020D0603020503020204" pitchFamily="34" charset="0"/>
              </a:defRPr>
            </a:lvl1pPr>
          </a:lstStyle>
          <a:p>
            <a:endParaRPr lang="en-US" dirty="0"/>
          </a:p>
        </p:txBody>
      </p:sp>
      <p:sp>
        <p:nvSpPr>
          <p:cNvPr id="3" name="Date Placeholder 2"/>
          <p:cNvSpPr>
            <a:spLocks noGrp="1"/>
          </p:cNvSpPr>
          <p:nvPr>
            <p:ph type="dt" idx="1"/>
          </p:nvPr>
        </p:nvSpPr>
        <p:spPr bwMode="gray">
          <a:xfrm>
            <a:off x="4402562" y="1"/>
            <a:ext cx="3368040" cy="708660"/>
          </a:xfrm>
          <a:prstGeom prst="rect">
            <a:avLst/>
          </a:prstGeom>
        </p:spPr>
        <p:txBody>
          <a:bodyPr vert="horz" lIns="125382" tIns="62691" rIns="125382" bIns="62691" rtlCol="0"/>
          <a:lstStyle>
            <a:lvl1pPr algn="r">
              <a:defRPr sz="1600">
                <a:latin typeface="ABBvoice" panose="020D0603020503020204" pitchFamily="34" charset="0"/>
                <a:ea typeface="ABBvoice" panose="020D0603020503020204" pitchFamily="34" charset="0"/>
                <a:cs typeface="ABBvoice" panose="020D0603020503020204" pitchFamily="34" charset="0"/>
              </a:defRPr>
            </a:lvl1pPr>
          </a:lstStyle>
          <a:p>
            <a:fld id="{7B9B1A6A-6BBE-4409-8C9E-DA0703379151}" type="datetimeFigureOut">
              <a:rPr lang="en-US" smtClean="0"/>
              <a:pPr/>
              <a:t>6/17/2021</a:t>
            </a:fld>
            <a:endParaRPr lang="en-US" dirty="0"/>
          </a:p>
        </p:txBody>
      </p:sp>
      <p:sp>
        <p:nvSpPr>
          <p:cNvPr id="4" name="Slide Image Placeholder 3"/>
          <p:cNvSpPr>
            <a:spLocks noGrp="1" noRot="1" noChangeAspect="1"/>
          </p:cNvSpPr>
          <p:nvPr>
            <p:ph type="sldImg" idx="2"/>
          </p:nvPr>
        </p:nvSpPr>
        <p:spPr bwMode="gray">
          <a:xfrm>
            <a:off x="-835025" y="1063625"/>
            <a:ext cx="9448800" cy="5314950"/>
          </a:xfrm>
          <a:prstGeom prst="rect">
            <a:avLst/>
          </a:prstGeom>
          <a:noFill/>
          <a:ln w="12700">
            <a:solidFill>
              <a:schemeClr val="accent5"/>
            </a:solidFill>
          </a:ln>
        </p:spPr>
        <p:txBody>
          <a:bodyPr vert="horz" lIns="125382" tIns="62691" rIns="125382" bIns="62691" rtlCol="0" anchor="ctr"/>
          <a:lstStyle/>
          <a:p>
            <a:endParaRPr lang="en-US" dirty="0"/>
          </a:p>
        </p:txBody>
      </p:sp>
      <p:sp>
        <p:nvSpPr>
          <p:cNvPr id="5" name="Notes Placeholder 4"/>
          <p:cNvSpPr>
            <a:spLocks noGrp="1"/>
          </p:cNvSpPr>
          <p:nvPr>
            <p:ph type="body" sz="quarter" idx="3"/>
          </p:nvPr>
        </p:nvSpPr>
        <p:spPr bwMode="gray">
          <a:xfrm>
            <a:off x="434998" y="6732271"/>
            <a:ext cx="6902404" cy="637794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bwMode="gray">
          <a:xfrm>
            <a:off x="0" y="13462081"/>
            <a:ext cx="3368040" cy="708660"/>
          </a:xfrm>
          <a:prstGeom prst="rect">
            <a:avLst/>
          </a:prstGeom>
        </p:spPr>
        <p:txBody>
          <a:bodyPr vert="horz" lIns="125382" tIns="62691" rIns="125382" bIns="62691" rtlCol="0" anchor="b"/>
          <a:lstStyle>
            <a:lvl1pPr algn="l">
              <a:defRPr sz="1600">
                <a:latin typeface="ABBvoice" panose="020D0603020503020204" pitchFamily="34" charset="0"/>
                <a:ea typeface="ABBvoice" panose="020D0603020503020204" pitchFamily="34" charset="0"/>
                <a:cs typeface="ABBvoice" panose="020D0603020503020204" pitchFamily="34" charset="0"/>
              </a:defRPr>
            </a:lvl1pPr>
          </a:lstStyle>
          <a:p>
            <a:endParaRPr lang="en-US" dirty="0"/>
          </a:p>
        </p:txBody>
      </p:sp>
      <p:sp>
        <p:nvSpPr>
          <p:cNvPr id="7" name="Slide Number Placeholder 6"/>
          <p:cNvSpPr>
            <a:spLocks noGrp="1"/>
          </p:cNvSpPr>
          <p:nvPr>
            <p:ph type="sldNum" sz="quarter" idx="5"/>
          </p:nvPr>
        </p:nvSpPr>
        <p:spPr bwMode="gray">
          <a:xfrm>
            <a:off x="4402562" y="13462081"/>
            <a:ext cx="3368040" cy="708660"/>
          </a:xfrm>
          <a:prstGeom prst="rect">
            <a:avLst/>
          </a:prstGeom>
        </p:spPr>
        <p:txBody>
          <a:bodyPr vert="horz" lIns="125382" tIns="62691" rIns="125382" bIns="62691" rtlCol="0" anchor="b"/>
          <a:lstStyle>
            <a:lvl1pPr algn="r">
              <a:defRPr sz="1600">
                <a:latin typeface="ABBvoice" panose="020D0603020503020204" pitchFamily="34" charset="0"/>
                <a:ea typeface="ABBvoice" panose="020D0603020503020204" pitchFamily="34" charset="0"/>
                <a:cs typeface="ABBvoice" panose="020D0603020503020204" pitchFamily="34" charset="0"/>
              </a:defRPr>
            </a:lvl1pPr>
          </a:lstStyle>
          <a:p>
            <a:fld id="{3A94E69C-C28A-4BE6-BE89-71D8FB2035FD}" type="slidenum">
              <a:rPr lang="en-US" smtClean="0"/>
              <a:pPr/>
              <a:t>‹#›</a:t>
            </a:fld>
            <a:endParaRPr lang="en-US" dirty="0"/>
          </a:p>
        </p:txBody>
      </p:sp>
    </p:spTree>
    <p:extLst>
      <p:ext uri="{BB962C8B-B14F-4D97-AF65-F5344CB8AC3E}">
        <p14:creationId xmlns:p14="http://schemas.microsoft.com/office/powerpoint/2010/main" val="4290885645"/>
      </p:ext>
    </p:extLst>
  </p:cSld>
  <p:clrMap bg1="lt1" tx1="dk1" bg2="lt2" tx2="dk2" accent1="accent1" accent2="accent2" accent3="accent3" accent4="accent4" accent5="accent5" accent6="accent6" hlink="hlink" folHlink="folHlink"/>
  <p:notesStyle>
    <a:lvl1pPr marL="0" indent="0" algn="l" defTabSz="914400" rtl="0" eaLnBrk="1" latinLnBrk="0" hangingPunct="1">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1pPr>
    <a:lvl2pPr marL="180000" indent="-180000" algn="l" defTabSz="914400" rtl="0" eaLnBrk="1" latinLnBrk="0" hangingPunct="1">
      <a:buFont typeface="ABBvoiceOffice" panose="020D0603020503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2pPr>
    <a:lvl3pPr marL="360000" indent="-180000" algn="l" defTabSz="914400" rtl="0" eaLnBrk="1" latinLnBrk="0" hangingPunct="1">
      <a:buFont typeface="Arial" panose="020B0604020202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3pPr>
    <a:lvl4pPr marL="360000" indent="-180000" algn="l" defTabSz="914400" rtl="0" eaLnBrk="1" latinLnBrk="0" hangingPunct="1">
      <a:buFont typeface="Arial" panose="020B0604020202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4pPr>
    <a:lvl5pPr marL="360000" indent="-180000" algn="l" defTabSz="914400" rtl="0" eaLnBrk="1" latinLnBrk="0" hangingPunct="1">
      <a:buFont typeface="Arial" panose="020B0604020202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5pPr>
    <a:lvl6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6pPr>
    <a:lvl7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7pPr>
    <a:lvl8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8pPr>
    <a:lvl9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5450" y="1063625"/>
            <a:ext cx="9448800" cy="5314950"/>
          </a:xfrm>
        </p:spPr>
      </p:sp>
      <p:sp>
        <p:nvSpPr>
          <p:cNvPr id="3" name="Notes Placeholder 2"/>
          <p:cNvSpPr>
            <a:spLocks noGrp="1"/>
          </p:cNvSpPr>
          <p:nvPr>
            <p:ph type="body" idx="1"/>
          </p:nvPr>
        </p:nvSpPr>
        <p:spPr/>
        <p:txBody>
          <a:bodyPr/>
          <a:lstStyle/>
          <a:p>
            <a:r>
              <a:rPr lang="en-US" dirty="0"/>
              <a:t>Welcome to ABB LST200 ultrasonic level transmitter training, This training aims to provide basic understanding of the LST200 including principle and applications,  guidance during model  selection, installation and commissioning </a:t>
            </a:r>
          </a:p>
        </p:txBody>
      </p:sp>
      <p:sp>
        <p:nvSpPr>
          <p:cNvPr id="4" name="Slide Number Placeholder 3"/>
          <p:cNvSpPr>
            <a:spLocks noGrp="1"/>
          </p:cNvSpPr>
          <p:nvPr>
            <p:ph type="sldNum" sz="quarter" idx="10"/>
          </p:nvPr>
        </p:nvSpPr>
        <p:spPr/>
        <p:txBody>
          <a:bodyPr/>
          <a:lstStyle/>
          <a:p>
            <a:fld id="{3A94E69C-C28A-4BE6-BE89-71D8FB2035FD}" type="slidenum">
              <a:rPr lang="en-US" smtClean="0"/>
              <a:t>1</a:t>
            </a:fld>
            <a:endParaRPr lang="en-US" dirty="0"/>
          </a:p>
        </p:txBody>
      </p:sp>
    </p:spTree>
    <p:extLst>
      <p:ext uri="{BB962C8B-B14F-4D97-AF65-F5344CB8AC3E}">
        <p14:creationId xmlns:p14="http://schemas.microsoft.com/office/powerpoint/2010/main" val="40472279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ould LST200 deal with so many challenges? Let’s learn more about the </a:t>
            </a:r>
            <a:r>
              <a:rPr lang="de-DE" altLang="zh-CN" dirty="0"/>
              <a:t>LST200 algorithm</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As we know,</a:t>
            </a:r>
            <a:r>
              <a:rPr lang="en-US" altLang="zh-CN" dirty="0"/>
              <a:t> Factors like unstable surface, bulk solids, vapor would cause the strength of the echo signal  unstable. Thanks to the GAP stabilizer, by changing the Gain, Amplitude and Number of the pulse,  LST200 will ensure a stable output by automatically adjusting the echo strength to the expected leve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100" kern="1200" dirty="0">
              <a:solidFill>
                <a:schemeClr val="tx1"/>
              </a:solidFill>
              <a:latin typeface="ABBvoice" panose="020D0603020503020204" pitchFamily="34" charset="0"/>
              <a:ea typeface="ABBvoice" panose="020D0603020503020204" pitchFamily="34" charset="0"/>
              <a:cs typeface="ABBvoice" panose="020D0603020503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100" kern="1200" dirty="0">
                <a:solidFill>
                  <a:schemeClr val="tx1"/>
                </a:solidFill>
                <a:latin typeface="ABBvoice" panose="020D0603020503020204" pitchFamily="34" charset="0"/>
                <a:ea typeface="ABBvoice" panose="020D0603020503020204" pitchFamily="34" charset="0"/>
                <a:cs typeface="ABBvoice" panose="020D0603020503020204" pitchFamily="34" charset="0"/>
              </a:rPr>
              <a:t>LST200 also has the embedded noise filter which can tell the random noise from the real one, that’s why LST200 can ensure a stable output in a st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100" kern="1200" dirty="0">
              <a:solidFill>
                <a:schemeClr val="tx1"/>
              </a:solidFill>
              <a:latin typeface="ABBvoice" panose="020D0603020503020204" pitchFamily="34" charset="0"/>
              <a:ea typeface="ABBvoice" panose="020D0603020503020204" pitchFamily="34" charset="0"/>
              <a:cs typeface="ABBvoice" panose="020D0603020503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100" kern="1200" dirty="0">
                <a:solidFill>
                  <a:schemeClr val="tx1"/>
                </a:solidFill>
                <a:latin typeface="ABBvoice" panose="020D0603020503020204" pitchFamily="34" charset="0"/>
                <a:ea typeface="ABBvoice" panose="020D0603020503020204" pitchFamily="34" charset="0"/>
                <a:cs typeface="ABBvoice" panose="020D0603020503020204" pitchFamily="34" charset="0"/>
              </a:rPr>
              <a:t>And to deal with the temperature drift, LST200 uses temperature sensor for compensation algorithm which ensures the accuracy during summer and wint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100" kern="1200" dirty="0">
              <a:solidFill>
                <a:schemeClr val="tx1"/>
              </a:solidFill>
              <a:latin typeface="ABBvoice" panose="020D0603020503020204" pitchFamily="34" charset="0"/>
              <a:ea typeface="ABBvoice" panose="020D0603020503020204" pitchFamily="34" charset="0"/>
              <a:cs typeface="ABBvoice" panose="020D0603020503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endParaRPr lang="en-US"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10</a:t>
            </a:fld>
            <a:endParaRPr lang="en-US" dirty="0"/>
          </a:p>
        </p:txBody>
      </p:sp>
    </p:spTree>
    <p:extLst>
      <p:ext uri="{BB962C8B-B14F-4D97-AF65-F5344CB8AC3E}">
        <p14:creationId xmlns:p14="http://schemas.microsoft.com/office/powerpoint/2010/main" val="1549899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ould LST200 deal with so many challenges? Let’s learn more about the </a:t>
            </a:r>
            <a:r>
              <a:rPr lang="de-DE" altLang="zh-CN" dirty="0"/>
              <a:t>LST200 algorithm</a:t>
            </a:r>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As we know,</a:t>
            </a:r>
            <a:r>
              <a:rPr lang="en-US" altLang="zh-CN" dirty="0"/>
              <a:t> Factors like unstable surface, bulk solids, vapor would cause the strength of the echo signal  unstable. Thanks to the GAP stabilizer, by changing the Gain, Amplitude and Number of the pulse,  LST200 will ensure a stable output by automatically adjusting the echo strength to the expected leve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100" kern="1200" dirty="0">
              <a:solidFill>
                <a:schemeClr val="tx1"/>
              </a:solidFill>
              <a:latin typeface="ABBvoice" panose="020D0603020503020204" pitchFamily="34" charset="0"/>
              <a:ea typeface="ABBvoice" panose="020D0603020503020204" pitchFamily="34" charset="0"/>
              <a:cs typeface="ABBvoice" panose="020D0603020503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100" kern="1200" dirty="0">
                <a:solidFill>
                  <a:schemeClr val="tx1"/>
                </a:solidFill>
                <a:latin typeface="ABBvoice" panose="020D0603020503020204" pitchFamily="34" charset="0"/>
                <a:ea typeface="ABBvoice" panose="020D0603020503020204" pitchFamily="34" charset="0"/>
                <a:cs typeface="ABBvoice" panose="020D0603020503020204" pitchFamily="34" charset="0"/>
              </a:rPr>
              <a:t>LST200 also has the embedded noise filter which can tell the random noise from the real one, that’s why LST200 can ensure a stable output in a st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100" kern="1200" dirty="0">
              <a:solidFill>
                <a:schemeClr val="tx1"/>
              </a:solidFill>
              <a:latin typeface="ABBvoice" panose="020D0603020503020204" pitchFamily="34" charset="0"/>
              <a:ea typeface="ABBvoice" panose="020D0603020503020204" pitchFamily="34" charset="0"/>
              <a:cs typeface="ABBvoice" panose="020D0603020503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100" kern="1200" dirty="0">
                <a:solidFill>
                  <a:schemeClr val="tx1"/>
                </a:solidFill>
                <a:latin typeface="ABBvoice" panose="020D0603020503020204" pitchFamily="34" charset="0"/>
                <a:ea typeface="ABBvoice" panose="020D0603020503020204" pitchFamily="34" charset="0"/>
                <a:cs typeface="ABBvoice" panose="020D0603020503020204" pitchFamily="34" charset="0"/>
              </a:rPr>
              <a:t>And to deal with the temperature drift, LST200 uses temperature sensor for compensation algorithm which ensures the accuracy during summer and wint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100" kern="1200" dirty="0">
              <a:solidFill>
                <a:schemeClr val="tx1"/>
              </a:solidFill>
              <a:latin typeface="ABBvoice" panose="020D0603020503020204" pitchFamily="34" charset="0"/>
              <a:ea typeface="ABBvoice" panose="020D0603020503020204" pitchFamily="34" charset="0"/>
              <a:cs typeface="ABBvoice" panose="020D0603020503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endParaRPr lang="en-US"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12</a:t>
            </a:fld>
            <a:endParaRPr lang="en-US" dirty="0"/>
          </a:p>
        </p:txBody>
      </p:sp>
    </p:spTree>
    <p:extLst>
      <p:ext uri="{BB962C8B-B14F-4D97-AF65-F5344CB8AC3E}">
        <p14:creationId xmlns:p14="http://schemas.microsoft.com/office/powerpoint/2010/main" val="776628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8025" y="879475"/>
            <a:ext cx="7823200" cy="440055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13</a:t>
            </a:fld>
            <a:endParaRPr lang="en-US" dirty="0"/>
          </a:p>
        </p:txBody>
      </p:sp>
    </p:spTree>
    <p:extLst>
      <p:ext uri="{BB962C8B-B14F-4D97-AF65-F5344CB8AC3E}">
        <p14:creationId xmlns:p14="http://schemas.microsoft.com/office/powerpoint/2010/main" val="3010663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a quick review of the ultrasonic principle, we know that it is a non-contact device that could be used in numerous industries, but the most common application is water and wastewater treatment  </a:t>
            </a:r>
          </a:p>
        </p:txBody>
      </p:sp>
      <p:sp>
        <p:nvSpPr>
          <p:cNvPr id="4" name="Slide Number Placeholder 3"/>
          <p:cNvSpPr>
            <a:spLocks noGrp="1"/>
          </p:cNvSpPr>
          <p:nvPr>
            <p:ph type="sldNum" sz="quarter" idx="5"/>
          </p:nvPr>
        </p:nvSpPr>
        <p:spPr/>
        <p:txBody>
          <a:bodyPr/>
          <a:lstStyle/>
          <a:p>
            <a:fld id="{3A94E69C-C28A-4BE6-BE89-71D8FB2035FD}" type="slidenum">
              <a:rPr lang="en-US" smtClean="0"/>
              <a:pPr/>
              <a:t>14</a:t>
            </a:fld>
            <a:endParaRPr lang="en-US" dirty="0"/>
          </a:p>
        </p:txBody>
      </p:sp>
    </p:spTree>
    <p:extLst>
      <p:ext uri="{BB962C8B-B14F-4D97-AF65-F5344CB8AC3E}">
        <p14:creationId xmlns:p14="http://schemas.microsoft.com/office/powerpoint/2010/main" val="30445308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ltrasonic level transmitters are popular due to the </a:t>
            </a:r>
            <a:r>
              <a:rPr lang="en-US" altLang="zh-CN" dirty="0"/>
              <a:t>stability and cost-effectiveness in these easy applications (without high pressure and temperature, no hazardous article) </a:t>
            </a:r>
            <a:r>
              <a:rPr lang="en-US" dirty="0"/>
              <a:t>And </a:t>
            </a:r>
            <a:r>
              <a:rPr lang="en-US" altLang="zh-CN" dirty="0"/>
              <a:t>in particular, </a:t>
            </a:r>
            <a:r>
              <a:rPr lang="en-US" dirty="0"/>
              <a:t>open channels flow measurement is a typical cost-effective solution to measure flow by the help of level value and shape parameters of flumes</a:t>
            </a:r>
          </a:p>
        </p:txBody>
      </p:sp>
      <p:sp>
        <p:nvSpPr>
          <p:cNvPr id="4" name="Slide Number Placeholder 3"/>
          <p:cNvSpPr>
            <a:spLocks noGrp="1"/>
          </p:cNvSpPr>
          <p:nvPr>
            <p:ph type="sldNum" sz="quarter" idx="5"/>
          </p:nvPr>
        </p:nvSpPr>
        <p:spPr/>
        <p:txBody>
          <a:bodyPr/>
          <a:lstStyle/>
          <a:p>
            <a:fld id="{3A94E69C-C28A-4BE6-BE89-71D8FB2035FD}" type="slidenum">
              <a:rPr lang="en-US" smtClean="0"/>
              <a:pPr/>
              <a:t>15</a:t>
            </a:fld>
            <a:endParaRPr lang="en-US" dirty="0"/>
          </a:p>
        </p:txBody>
      </p:sp>
    </p:spTree>
    <p:extLst>
      <p:ext uri="{BB962C8B-B14F-4D97-AF65-F5344CB8AC3E}">
        <p14:creationId xmlns:p14="http://schemas.microsoft.com/office/powerpoint/2010/main" val="4582387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ST200 is a 2-wire device with 4~20mA output, so the connection is quite simple. You need to remove the cover and LCD, unplug the green connector and connect the wire according to the mark on it. The port for LCD connection is also the one for interface cable if you need to use the FIM tool with a computer </a:t>
            </a:r>
          </a:p>
        </p:txBody>
      </p:sp>
      <p:sp>
        <p:nvSpPr>
          <p:cNvPr id="4" name="Slide Number Placeholder 3"/>
          <p:cNvSpPr>
            <a:spLocks noGrp="1"/>
          </p:cNvSpPr>
          <p:nvPr>
            <p:ph type="sldNum" sz="quarter" idx="5"/>
          </p:nvPr>
        </p:nvSpPr>
        <p:spPr/>
        <p:txBody>
          <a:bodyPr/>
          <a:lstStyle/>
          <a:p>
            <a:fld id="{3A94E69C-C28A-4BE6-BE89-71D8FB2035FD}" type="slidenum">
              <a:rPr lang="en-US" smtClean="0"/>
              <a:pPr/>
              <a:t>16</a:t>
            </a:fld>
            <a:endParaRPr lang="en-US" dirty="0"/>
          </a:p>
        </p:txBody>
      </p:sp>
    </p:spTree>
    <p:extLst>
      <p:ext uri="{BB962C8B-B14F-4D97-AF65-F5344CB8AC3E}">
        <p14:creationId xmlns:p14="http://schemas.microsoft.com/office/powerpoint/2010/main" val="21510985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st200 can be mounted on a storage vessel or open basin or channel.</a:t>
            </a:r>
          </a:p>
          <a:p>
            <a:endParaRPr lang="en-US" dirty="0"/>
          </a:p>
          <a:p>
            <a:r>
              <a:rPr lang="en-US" dirty="0"/>
              <a:t>Storage vessels may have complicated</a:t>
            </a:r>
            <a:r>
              <a:rPr lang="en-US" altLang="zh-CN" dirty="0"/>
              <a:t> inside</a:t>
            </a:r>
            <a:r>
              <a:rPr lang="en-US" dirty="0"/>
              <a:t> structures which may block the way of ultrasound.</a:t>
            </a:r>
          </a:p>
          <a:p>
            <a:r>
              <a:rPr lang="en-US" dirty="0"/>
              <a:t>The mounting position should be considered to avoid possible obstacles within the LST200’s beam angle (10°)</a:t>
            </a:r>
          </a:p>
          <a:p>
            <a:r>
              <a:rPr lang="en-US" dirty="0"/>
              <a:t>An ultrasound guide pipe may be required if the structure was too complicated to be avoided </a:t>
            </a:r>
          </a:p>
          <a:p>
            <a:endParaRPr lang="en-US" dirty="0"/>
          </a:p>
          <a:p>
            <a:r>
              <a:rPr lang="en-US" dirty="0"/>
              <a:t>Installing over the open channel or basin </a:t>
            </a:r>
            <a:r>
              <a:rPr lang="en-US" altLang="zh-CN" dirty="0"/>
              <a:t>are one of the most common applications for Ultrasonic level transmitter</a:t>
            </a:r>
          </a:p>
          <a:p>
            <a:r>
              <a:rPr lang="en-US" dirty="0"/>
              <a:t>An extended  mounting bracket is required to ensure the instrument far away from walls and other obstacles like pipes and  brackets</a:t>
            </a:r>
          </a:p>
          <a:p>
            <a:endParaRPr lang="en-US" dirty="0"/>
          </a:p>
          <a:p>
            <a:r>
              <a:rPr lang="zh-CN" altLang="en-US" dirty="0"/>
              <a:t>切到罐体和明渠页一起介绍</a:t>
            </a:r>
            <a:endParaRPr lang="en-US"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17</a:t>
            </a:fld>
            <a:endParaRPr lang="en-US" dirty="0"/>
          </a:p>
        </p:txBody>
      </p:sp>
    </p:spTree>
    <p:extLst>
      <p:ext uri="{BB962C8B-B14F-4D97-AF65-F5344CB8AC3E}">
        <p14:creationId xmlns:p14="http://schemas.microsoft.com/office/powerpoint/2010/main" val="22550974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have a look at some typical applications, all the pictures are LST200 test units collected from almost 20 kind customer sit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typical tank measurement, as explained, we need to </a:t>
            </a:r>
            <a:r>
              <a:rPr lang="en-US" altLang="zh-CN" dirty="0"/>
              <a:t>try to avoid obstructions within the beam angle “</a:t>
            </a:r>
            <a:r>
              <a:rPr lang="el-GR" altLang="zh-CN" dirty="0"/>
              <a:t>α</a:t>
            </a:r>
            <a:r>
              <a:rPr lang="en-US" altLang="zh-CN" dirty="0"/>
              <a:t>” , the suggested dimension of this area are listed in the tab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And if there are high possibility of condensation, Anti-water pad (like the surface of lotus leaves)is recommend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After that everything you need to do is setting the Empty distance and span.</a:t>
            </a:r>
          </a:p>
          <a:p>
            <a:endParaRPr lang="en-US"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18</a:t>
            </a:fld>
            <a:endParaRPr lang="en-US" dirty="0"/>
          </a:p>
        </p:txBody>
      </p:sp>
    </p:spTree>
    <p:extLst>
      <p:ext uri="{BB962C8B-B14F-4D97-AF65-F5344CB8AC3E}">
        <p14:creationId xmlns:p14="http://schemas.microsoft.com/office/powerpoint/2010/main" val="21202621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se pictures come from a sludge tank, and </a:t>
            </a:r>
            <a:r>
              <a:rPr lang="en-US" altLang="zh-CN" dirty="0"/>
              <a:t>Sludge is a big challenge due to the feature that absorbing ultrasoun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the ultrasound absorption of sludge could vary from 20% to 60% according to the water cont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So for the device selection, we need to give some margin of the measuring distance . For example, if you want to measure a 5m sludge tank, you may need to choose an 8m device Also, a waveform check is recommended which will tell you if the echo is strong enough for this applic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From the waveform showed here, the P value is only 2, which means the echo could be picked up by LST200 easily. And customer feel safe and happy to see the feedback of this wave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endParaRPr lang="en-US"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20</a:t>
            </a:fld>
            <a:endParaRPr lang="en-US" dirty="0"/>
          </a:p>
        </p:txBody>
      </p:sp>
    </p:spTree>
    <p:extLst>
      <p:ext uri="{BB962C8B-B14F-4D97-AF65-F5344CB8AC3E}">
        <p14:creationId xmlns:p14="http://schemas.microsoft.com/office/powerpoint/2010/main" val="4189263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B level measurement products have a long history of almost 50 years if we trace back to the age of famous K-TEK products.</a:t>
            </a:r>
          </a:p>
          <a:p>
            <a:r>
              <a:rPr lang="en-US" dirty="0"/>
              <a:t>Now, it is a big family including both continuous and point level devices serving various industries all over the world</a:t>
            </a:r>
          </a:p>
        </p:txBody>
      </p:sp>
      <p:sp>
        <p:nvSpPr>
          <p:cNvPr id="4" name="Slide Number Placeholder 3"/>
          <p:cNvSpPr>
            <a:spLocks noGrp="1"/>
          </p:cNvSpPr>
          <p:nvPr>
            <p:ph type="sldNum" sz="quarter" idx="5"/>
          </p:nvPr>
        </p:nvSpPr>
        <p:spPr/>
        <p:txBody>
          <a:bodyPr/>
          <a:lstStyle/>
          <a:p>
            <a:fld id="{3A94E69C-C28A-4BE6-BE89-71D8FB2035FD}" type="slidenum">
              <a:rPr lang="en-US" smtClean="0"/>
              <a:pPr/>
              <a:t>2</a:t>
            </a:fld>
            <a:endParaRPr lang="en-US" dirty="0"/>
          </a:p>
        </p:txBody>
      </p:sp>
    </p:spTree>
    <p:extLst>
      <p:ext uri="{BB962C8B-B14F-4D97-AF65-F5344CB8AC3E}">
        <p14:creationId xmlns:p14="http://schemas.microsoft.com/office/powerpoint/2010/main" val="4744176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LST200’s enclosure is made from polycarbonate  which is resistant to mild acid and base, chloride, oxidiz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And this customer use it to measure </a:t>
            </a:r>
            <a:r>
              <a:rPr lang="en-US" sz="1200" b="0" i="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sodium hypochlorite solu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i="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Due to the limitation of the mounting space, the device is very close to the wall which is not recommended, but since the measuring distance is only 2 meters, although  there is an attenuation, the signal is still strong enough to keep it working.  </a:t>
            </a:r>
            <a:endParaRPr lang="zh-CN" altLang="en-US" dirty="0"/>
          </a:p>
          <a:p>
            <a:endParaRPr lang="en-US"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21</a:t>
            </a:fld>
            <a:endParaRPr lang="en-US" dirty="0"/>
          </a:p>
        </p:txBody>
      </p:sp>
    </p:spTree>
    <p:extLst>
      <p:ext uri="{BB962C8B-B14F-4D97-AF65-F5344CB8AC3E}">
        <p14:creationId xmlns:p14="http://schemas.microsoft.com/office/powerpoint/2010/main" val="32112377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also a lot of demand for open basin and pond measurement in water and wastewater factories</a:t>
            </a:r>
          </a:p>
          <a:p>
            <a:r>
              <a:rPr lang="en-US" dirty="0"/>
              <a:t>As same as mounting in the tank, you’d better to k</a:t>
            </a:r>
            <a:r>
              <a:rPr lang="en-US" altLang="zh-CN" dirty="0"/>
              <a:t>eep a certain distance from  the wall according to the measuring distance by the help of an extended bracket. </a:t>
            </a:r>
          </a:p>
          <a:p>
            <a:r>
              <a:rPr lang="en-US" altLang="zh-CN" dirty="0"/>
              <a:t>The bottom surface of the sensor should be in parallel with and close to the water surface, but a minimum 400mm distance is recommended due to there is an unmeasurable blanking area of the device.</a:t>
            </a:r>
          </a:p>
          <a:p>
            <a:r>
              <a:rPr lang="en-US" altLang="zh-CN" dirty="0"/>
              <a:t>If you use it for open channel flow measurement, you need to position the instrument in the middle of the channel or weir</a:t>
            </a:r>
          </a:p>
        </p:txBody>
      </p:sp>
      <p:sp>
        <p:nvSpPr>
          <p:cNvPr id="4" name="Slide Number Placeholder 3"/>
          <p:cNvSpPr>
            <a:spLocks noGrp="1"/>
          </p:cNvSpPr>
          <p:nvPr>
            <p:ph type="sldNum" sz="quarter" idx="5"/>
          </p:nvPr>
        </p:nvSpPr>
        <p:spPr/>
        <p:txBody>
          <a:bodyPr/>
          <a:lstStyle/>
          <a:p>
            <a:fld id="{3A94E69C-C28A-4BE6-BE89-71D8FB2035FD}" type="slidenum">
              <a:rPr lang="en-US" smtClean="0"/>
              <a:pPr/>
              <a:t>22</a:t>
            </a:fld>
            <a:endParaRPr lang="en-US" dirty="0"/>
          </a:p>
        </p:txBody>
      </p:sp>
    </p:spTree>
    <p:extLst>
      <p:ext uri="{BB962C8B-B14F-4D97-AF65-F5344CB8AC3E}">
        <p14:creationId xmlns:p14="http://schemas.microsoft.com/office/powerpoint/2010/main" val="37244168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Aeration lagoon is common for wastewater treatment, the aeration makes the water surface unstable with foams.</a:t>
            </a:r>
          </a:p>
          <a:p>
            <a:r>
              <a:rPr lang="en-US" altLang="zh-CN" dirty="0"/>
              <a:t>LST200 can detect and automatically compensate for any instability in the strength of the ultrasonic echo. </a:t>
            </a:r>
          </a:p>
          <a:p>
            <a:r>
              <a:rPr lang="en-US" altLang="zh-CN" dirty="0"/>
              <a:t>This makes the LST200 a good choice in process basins where there can be unstable surface echo from foam or turbule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Also, the backlit display with easy setup menu helps to simplify outdoor installation and commissioning. </a:t>
            </a:r>
            <a:endParaRPr lang="zh-CN" altLang="zh-CN" dirty="0"/>
          </a:p>
          <a:p>
            <a:endParaRPr lang="en-US"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23</a:t>
            </a:fld>
            <a:endParaRPr lang="en-US" dirty="0"/>
          </a:p>
        </p:txBody>
      </p:sp>
    </p:spTree>
    <p:extLst>
      <p:ext uri="{BB962C8B-B14F-4D97-AF65-F5344CB8AC3E}">
        <p14:creationId xmlns:p14="http://schemas.microsoft.com/office/powerpoint/2010/main" val="35251744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icture comes from a cooling tow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Foam and t</a:t>
            </a:r>
            <a:r>
              <a:rPr lang="en-US" dirty="0"/>
              <a:t>urbulence could cause diffused reflection which could make the strength of the return signal unstable and  </a:t>
            </a:r>
            <a:r>
              <a:rPr lang="en-US" altLang="zh-CN" dirty="0"/>
              <a:t>Splash could cause random noise to the sensor</a:t>
            </a:r>
            <a:endParaRPr lang="en-US" dirty="0"/>
          </a:p>
          <a:p>
            <a:r>
              <a:rPr lang="en-US" dirty="0"/>
              <a:t>Thanks to the GAP stabilizer and noise filter, the device is still working in good condition after half a year</a:t>
            </a:r>
          </a:p>
        </p:txBody>
      </p:sp>
      <p:sp>
        <p:nvSpPr>
          <p:cNvPr id="4" name="Slide Number Placeholder 3"/>
          <p:cNvSpPr>
            <a:spLocks noGrp="1"/>
          </p:cNvSpPr>
          <p:nvPr>
            <p:ph type="sldNum" sz="quarter" idx="5"/>
          </p:nvPr>
        </p:nvSpPr>
        <p:spPr/>
        <p:txBody>
          <a:bodyPr/>
          <a:lstStyle/>
          <a:p>
            <a:fld id="{3A94E69C-C28A-4BE6-BE89-71D8FB2035FD}" type="slidenum">
              <a:rPr lang="en-US" smtClean="0"/>
              <a:pPr/>
              <a:t>24</a:t>
            </a:fld>
            <a:endParaRPr lang="en-US" dirty="0"/>
          </a:p>
        </p:txBody>
      </p:sp>
    </p:spTree>
    <p:extLst>
      <p:ext uri="{BB962C8B-B14F-4D97-AF65-F5344CB8AC3E}">
        <p14:creationId xmlns:p14="http://schemas.microsoft.com/office/powerpoint/2010/main" val="20652127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Ultrasonic is a good partner with open channel flo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ea typeface="ＭＳ Ｐゴシック" pitchFamily="34" charset="-128"/>
              </a:rPr>
              <a:t>There is a </a:t>
            </a:r>
            <a:r>
              <a:rPr lang="en-US" altLang="zh-CN" b="1" dirty="0">
                <a:ea typeface="ＭＳ Ｐゴシック" pitchFamily="34" charset="-128"/>
              </a:rPr>
              <a:t>fixed relationship </a:t>
            </a:r>
            <a:r>
              <a:rPr lang="en-US" altLang="zh-CN" dirty="0">
                <a:ea typeface="ＭＳ Ｐゴシック" pitchFamily="34" charset="-128"/>
              </a:rPr>
              <a:t>between level and flowrate for open channel  when boundary conditions  are fixed. Hence, the ultrasonic instrument measures the </a:t>
            </a:r>
            <a:r>
              <a:rPr lang="en-US" altLang="zh-CN" b="1" dirty="0">
                <a:ea typeface="ＭＳ Ｐゴシック" pitchFamily="34" charset="-128"/>
              </a:rPr>
              <a:t>level</a:t>
            </a:r>
            <a:r>
              <a:rPr lang="en-US" altLang="zh-CN" dirty="0">
                <a:ea typeface="ＭＳ Ｐゴシック" pitchFamily="34" charset="-128"/>
              </a:rPr>
              <a:t> and calculates the </a:t>
            </a:r>
            <a:r>
              <a:rPr lang="en-US" altLang="zh-CN" b="1" dirty="0">
                <a:ea typeface="ＭＳ Ｐゴシック" pitchFamily="34" charset="-128"/>
              </a:rPr>
              <a:t>flowrate</a:t>
            </a:r>
            <a:r>
              <a:rPr lang="en-US" altLang="zh-CN" dirty="0">
                <a:ea typeface="ＭＳ Ｐゴシック" pitchFamily="34" charset="-128"/>
              </a:rPr>
              <a:t> through the formul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endParaRPr lang="en-US"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25</a:t>
            </a:fld>
            <a:endParaRPr lang="en-US" dirty="0"/>
          </a:p>
        </p:txBody>
      </p:sp>
    </p:spTree>
    <p:extLst>
      <p:ext uri="{BB962C8B-B14F-4D97-AF65-F5344CB8AC3E}">
        <p14:creationId xmlns:p14="http://schemas.microsoft.com/office/powerpoint/2010/main" val="38890695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ea typeface="ＭＳ Ｐゴシック" pitchFamily="34" charset="-128"/>
              </a:rPr>
              <a:t>Open channel flow measurement by ultrasonic level transmitter is widely used for agriculture, water/wastewater, power station, etc. because of the easy setup and maintenance, wide measurement range, competitive price and stability </a:t>
            </a:r>
          </a:p>
          <a:p>
            <a:endParaRPr lang="en-US"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26</a:t>
            </a:fld>
            <a:endParaRPr lang="en-US" dirty="0"/>
          </a:p>
        </p:txBody>
      </p:sp>
    </p:spTree>
    <p:extLst>
      <p:ext uri="{BB962C8B-B14F-4D97-AF65-F5344CB8AC3E}">
        <p14:creationId xmlns:p14="http://schemas.microsoft.com/office/powerpoint/2010/main" val="25438068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raditional way for open channel flow commissioning need the customer to have good understanding of the key parameters.</a:t>
            </a:r>
          </a:p>
          <a:p>
            <a:r>
              <a:rPr lang="en-US" dirty="0"/>
              <a:t>They need first to confirm the notch type, parameters, calculate and validate ,and then input all the data into transmitters manually</a:t>
            </a:r>
          </a:p>
          <a:p>
            <a:r>
              <a:rPr lang="en-US" dirty="0"/>
              <a:t>It would require dramatic workload when they get more applications</a:t>
            </a:r>
          </a:p>
        </p:txBody>
      </p:sp>
      <p:sp>
        <p:nvSpPr>
          <p:cNvPr id="4" name="Slide Number Placeholder 3"/>
          <p:cNvSpPr>
            <a:spLocks noGrp="1"/>
          </p:cNvSpPr>
          <p:nvPr>
            <p:ph type="sldNum" sz="quarter" idx="5"/>
          </p:nvPr>
        </p:nvSpPr>
        <p:spPr/>
        <p:txBody>
          <a:bodyPr/>
          <a:lstStyle/>
          <a:p>
            <a:fld id="{3A94E69C-C28A-4BE6-BE89-71D8FB2035FD}" type="slidenum">
              <a:rPr lang="en-US" smtClean="0"/>
              <a:pPr/>
              <a:t>27</a:t>
            </a:fld>
            <a:endParaRPr lang="en-US" dirty="0"/>
          </a:p>
        </p:txBody>
      </p:sp>
    </p:spTree>
    <p:extLst>
      <p:ext uri="{BB962C8B-B14F-4D97-AF65-F5344CB8AC3E}">
        <p14:creationId xmlns:p14="http://schemas.microsoft.com/office/powerpoint/2010/main" val="26368346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ngs change today, with  ABB’s FIM tool on the computer, LST200 FDI software package provides a  friendly interface.</a:t>
            </a:r>
          </a:p>
          <a:p>
            <a:r>
              <a:rPr lang="en-US" dirty="0"/>
              <a:t>It provides various flume type and will calculate and download the data automatically </a:t>
            </a:r>
          </a:p>
        </p:txBody>
      </p:sp>
      <p:sp>
        <p:nvSpPr>
          <p:cNvPr id="4" name="Slide Number Placeholder 3"/>
          <p:cNvSpPr>
            <a:spLocks noGrp="1"/>
          </p:cNvSpPr>
          <p:nvPr>
            <p:ph type="sldNum" sz="quarter" idx="5"/>
          </p:nvPr>
        </p:nvSpPr>
        <p:spPr/>
        <p:txBody>
          <a:bodyPr/>
          <a:lstStyle/>
          <a:p>
            <a:fld id="{3A94E69C-C28A-4BE6-BE89-71D8FB2035FD}" type="slidenum">
              <a:rPr lang="en-US" smtClean="0"/>
              <a:pPr/>
              <a:t>28</a:t>
            </a:fld>
            <a:endParaRPr lang="en-US" dirty="0"/>
          </a:p>
        </p:txBody>
      </p:sp>
    </p:spTree>
    <p:extLst>
      <p:ext uri="{BB962C8B-B14F-4D97-AF65-F5344CB8AC3E}">
        <p14:creationId xmlns:p14="http://schemas.microsoft.com/office/powerpoint/2010/main" val="1483582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06375" y="511175"/>
            <a:ext cx="7872413" cy="4429125"/>
          </a:xfrm>
        </p:spPr>
      </p:sp>
      <p:sp>
        <p:nvSpPr>
          <p:cNvPr id="3" name="Notizenplatzhalter 2"/>
          <p:cNvSpPr>
            <a:spLocks noGrp="1"/>
          </p:cNvSpPr>
          <p:nvPr>
            <p:ph type="body" idx="1"/>
          </p:nvPr>
        </p:nvSpPr>
        <p:spPr/>
        <p:txBody>
          <a:bodyPr/>
          <a:lstStyle/>
          <a:p>
            <a:pPr marL="0" indent="0">
              <a:buFont typeface="Arial" panose="020B0604020202020204" pitchFamily="34" charset="0"/>
              <a:buNone/>
            </a:pPr>
            <a:r>
              <a:rPr lang="en-US" dirty="0"/>
              <a:t>What you need to  do is quite simple :  In the flow mode, you can find the open channel page and you just need to choose the channel type, input the required dimensions and then, by the help of the pre-set formula  you can “calculate” the maximum flowrate, “generate” a linearization table and send to the device.</a:t>
            </a:r>
          </a:p>
        </p:txBody>
      </p:sp>
      <p:sp>
        <p:nvSpPr>
          <p:cNvPr id="4" name="Foliennummernplatzhalter 3"/>
          <p:cNvSpPr>
            <a:spLocks noGrp="1"/>
          </p:cNvSpPr>
          <p:nvPr>
            <p:ph type="sldNum" sz="quarter" idx="10"/>
          </p:nvPr>
        </p:nvSpPr>
        <p:spPr/>
        <p:txBody>
          <a:bodyPr/>
          <a:lstStyle/>
          <a:p>
            <a:fld id="{78D175BF-D7F5-40CD-844F-A2421065051F}" type="slidenum">
              <a:rPr lang="en-US" smtClean="0"/>
              <a:t>29</a:t>
            </a:fld>
            <a:endParaRPr lang="en-US"/>
          </a:p>
        </p:txBody>
      </p:sp>
    </p:spTree>
    <p:extLst>
      <p:ext uri="{BB962C8B-B14F-4D97-AF65-F5344CB8AC3E}">
        <p14:creationId xmlns:p14="http://schemas.microsoft.com/office/powerpoint/2010/main" val="37942831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8025" y="879475"/>
            <a:ext cx="7823200" cy="440055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30</a:t>
            </a:fld>
            <a:endParaRPr lang="en-US" dirty="0"/>
          </a:p>
        </p:txBody>
      </p:sp>
    </p:spTree>
    <p:extLst>
      <p:ext uri="{BB962C8B-B14F-4D97-AF65-F5344CB8AC3E}">
        <p14:creationId xmlns:p14="http://schemas.microsoft.com/office/powerpoint/2010/main" val="1205161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r>
              <a:rPr lang="en-US" dirty="0"/>
              <a:t>As for transmitters based on ultrasonic principle, we have the newborn LST200 which we are going to introduce today, </a:t>
            </a:r>
          </a:p>
          <a:p>
            <a:r>
              <a:rPr lang="en-US" dirty="0"/>
              <a:t>LST300 the all-around transmitter with leading features</a:t>
            </a:r>
          </a:p>
          <a:p>
            <a:r>
              <a:rPr lang="en-US" dirty="0"/>
              <a:t>And LST400, the remote option with stronger power, that could survive where others fail</a:t>
            </a:r>
          </a:p>
        </p:txBody>
      </p:sp>
      <p:sp>
        <p:nvSpPr>
          <p:cNvPr id="4" name="Slide Number Placeholder 3"/>
          <p:cNvSpPr>
            <a:spLocks noGrp="1"/>
          </p:cNvSpPr>
          <p:nvPr>
            <p:ph type="sldNum" sz="quarter" idx="10"/>
          </p:nvPr>
        </p:nvSpPr>
        <p:spPr/>
        <p:txBody>
          <a:bodyPr/>
          <a:lstStyle/>
          <a:p>
            <a:fld id="{3A94E69C-C28A-4BE6-BE89-71D8FB2035FD}" type="slidenum">
              <a:rPr lang="en-US" smtClean="0"/>
              <a:pPr/>
              <a:t>3</a:t>
            </a:fld>
            <a:endParaRPr lang="en-US" dirty="0"/>
          </a:p>
        </p:txBody>
      </p:sp>
    </p:spTree>
    <p:extLst>
      <p:ext uri="{BB962C8B-B14F-4D97-AF65-F5344CB8AC3E}">
        <p14:creationId xmlns:p14="http://schemas.microsoft.com/office/powerpoint/2010/main" val="21182811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t’s all for today’s introduction and generally speaking LST200 is the </a:t>
            </a:r>
            <a:r>
              <a:rPr lang="en-US" altLang="zh-CN" b="0" dirty="0"/>
              <a:t>easy choice for intelligent level measur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LST200 meets our customers’ key requirements for ease and reliability especially when they are considering total expenditures on the devices from purchasing, to installation and mainten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At last let’s watch a video from a water factory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31</a:t>
            </a:fld>
            <a:endParaRPr lang="en-US" dirty="0"/>
          </a:p>
        </p:txBody>
      </p:sp>
    </p:spTree>
    <p:extLst>
      <p:ext uri="{BB962C8B-B14F-4D97-AF65-F5344CB8AC3E}">
        <p14:creationId xmlns:p14="http://schemas.microsoft.com/office/powerpoint/2010/main" val="39305093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ultrasonic devices take advantage of time of flight principle, because the ultrasound travels at a certain speed.</a:t>
            </a:r>
          </a:p>
          <a:p>
            <a:r>
              <a:rPr lang="en-US" altLang="zh-CN" dirty="0"/>
              <a:t>By measuring the time(t) elapsed between the initial pulse LST200 launch and the reflected one, the electronics can calculate the distance and know the position of the level</a:t>
            </a:r>
            <a:endParaRPr lang="en-US"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4</a:t>
            </a:fld>
            <a:endParaRPr lang="en-US" dirty="0"/>
          </a:p>
        </p:txBody>
      </p:sp>
    </p:spTree>
    <p:extLst>
      <p:ext uri="{BB962C8B-B14F-4D97-AF65-F5344CB8AC3E}">
        <p14:creationId xmlns:p14="http://schemas.microsoft.com/office/powerpoint/2010/main" val="38003279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some important things to know about ultrasonic devices .</a:t>
            </a:r>
          </a:p>
          <a:p>
            <a:endParaRPr lang="en-US" dirty="0"/>
          </a:p>
          <a:p>
            <a:r>
              <a:rPr lang="en-US" altLang="zh-CN" dirty="0"/>
              <a:t>The transducer functions much like a loudspeaker and there is an area, where 50% of the sound power concentrate, as showed here in yellow, </a:t>
            </a:r>
            <a:endParaRPr lang="en-US" dirty="0"/>
          </a:p>
          <a:p>
            <a:r>
              <a:rPr lang="en-US" dirty="0"/>
              <a:t> the angle in which the power concentrate is called the beam angle or half-power angle </a:t>
            </a:r>
          </a:p>
          <a:p>
            <a:r>
              <a:rPr lang="en-US" dirty="0"/>
              <a:t>During installation, we expect to have as less obstacles within the beam angle, so that we could get a strong and clean echo reflected from the real level</a:t>
            </a:r>
          </a:p>
        </p:txBody>
      </p:sp>
      <p:sp>
        <p:nvSpPr>
          <p:cNvPr id="4" name="Slide Number Placeholder 3"/>
          <p:cNvSpPr>
            <a:spLocks noGrp="1"/>
          </p:cNvSpPr>
          <p:nvPr>
            <p:ph type="sldNum" sz="quarter" idx="5"/>
          </p:nvPr>
        </p:nvSpPr>
        <p:spPr/>
        <p:txBody>
          <a:bodyPr/>
          <a:lstStyle/>
          <a:p>
            <a:fld id="{3A94E69C-C28A-4BE6-BE89-71D8FB2035FD}" type="slidenum">
              <a:rPr lang="en-US" smtClean="0"/>
              <a:pPr/>
              <a:t>5</a:t>
            </a:fld>
            <a:endParaRPr lang="en-US" dirty="0"/>
          </a:p>
        </p:txBody>
      </p:sp>
    </p:spTree>
    <p:extLst>
      <p:ext uri="{BB962C8B-B14F-4D97-AF65-F5344CB8AC3E}">
        <p14:creationId xmlns:p14="http://schemas.microsoft.com/office/powerpoint/2010/main" val="512118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8025" y="879475"/>
            <a:ext cx="7823200" cy="4400550"/>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3A94E69C-C28A-4BE6-BE89-71D8FB2035FD}" type="slidenum">
              <a:rPr lang="en-US" smtClean="0"/>
              <a:pPr/>
              <a:t>6</a:t>
            </a:fld>
            <a:endParaRPr lang="en-US" dirty="0"/>
          </a:p>
        </p:txBody>
      </p:sp>
    </p:spTree>
    <p:extLst>
      <p:ext uri="{BB962C8B-B14F-4D97-AF65-F5344CB8AC3E}">
        <p14:creationId xmlns:p14="http://schemas.microsoft.com/office/powerpoint/2010/main" val="3144039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the LST200’s specification, we can tell that all the features are focused on the needs of water and wastewater treatment </a:t>
            </a:r>
          </a:p>
          <a:p>
            <a:r>
              <a:rPr lang="en-US" dirty="0"/>
              <a:t>The backlit and the way of easy setup will relieve the inconvenience during outdoor commissioning and operating, poly carbonate housing with IP68 protection eliminate the risk of flooding and corrosion, 3</a:t>
            </a:r>
            <a:r>
              <a:rPr lang="en-US" baseline="30000" dirty="0"/>
              <a:t>rd</a:t>
            </a:r>
            <a:r>
              <a:rPr lang="en-US" dirty="0"/>
              <a:t> party proved EMC and smart algorithm safeguard the device when expose to interference from storm, lightning and temperature change </a:t>
            </a:r>
          </a:p>
        </p:txBody>
      </p:sp>
      <p:sp>
        <p:nvSpPr>
          <p:cNvPr id="4" name="Slide Number Placeholder 3"/>
          <p:cNvSpPr>
            <a:spLocks noGrp="1"/>
          </p:cNvSpPr>
          <p:nvPr>
            <p:ph type="sldNum" sz="quarter" idx="5"/>
          </p:nvPr>
        </p:nvSpPr>
        <p:spPr/>
        <p:txBody>
          <a:bodyPr/>
          <a:lstStyle/>
          <a:p>
            <a:fld id="{3A94E69C-C28A-4BE6-BE89-71D8FB2035FD}" type="slidenum">
              <a:rPr lang="en-US" smtClean="0"/>
              <a:pPr/>
              <a:t>7</a:t>
            </a:fld>
            <a:endParaRPr lang="en-US" dirty="0"/>
          </a:p>
        </p:txBody>
      </p:sp>
    </p:spTree>
    <p:extLst>
      <p:ext uri="{BB962C8B-B14F-4D97-AF65-F5344CB8AC3E}">
        <p14:creationId xmlns:p14="http://schemas.microsoft.com/office/powerpoint/2010/main" val="42280922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ring the design phase of LST200, </a:t>
            </a:r>
            <a:r>
              <a:rPr lang="zh-CN" altLang="en-US" dirty="0"/>
              <a:t>“</a:t>
            </a:r>
            <a:r>
              <a:rPr lang="en-US" dirty="0"/>
              <a:t>lower customers total expenditures</a:t>
            </a:r>
            <a:r>
              <a:rPr lang="zh-CN" altLang="en-US" dirty="0"/>
              <a:t>” </a:t>
            </a:r>
            <a:r>
              <a:rPr lang="en-US" altLang="zh-CN" dirty="0"/>
              <a:t>is the key target.</a:t>
            </a:r>
          </a:p>
          <a:p>
            <a:r>
              <a:rPr lang="en-US" dirty="0"/>
              <a:t>Features like easier for setup, clear blue backlit and essentially designed hardware and software are all water and wastewater industries need.</a:t>
            </a:r>
          </a:p>
          <a:p>
            <a:r>
              <a:rPr lang="en-US" dirty="0"/>
              <a:t>We limit it to only 2 options with and without LCD to save time for selection, offer 2 weeks lead time with specially developed App for tracking</a:t>
            </a:r>
          </a:p>
          <a:p>
            <a:r>
              <a:rPr lang="en-US" dirty="0"/>
              <a:t>For stability, LST200 inherits the long-proven algorithm </a:t>
            </a:r>
            <a:r>
              <a:rPr lang="en-US" altLang="zh-CN" dirty="0"/>
              <a:t>based on vast on-site data </a:t>
            </a:r>
            <a:r>
              <a:rPr lang="en-US" dirty="0"/>
              <a:t>and has further improvements based on even faster chip than ever before.</a:t>
            </a:r>
          </a:p>
          <a:p>
            <a:endParaRPr lang="en-US" dirty="0"/>
          </a:p>
          <a:p>
            <a:r>
              <a:rPr lang="zh-CN" altLang="en-US" dirty="0"/>
              <a:t>动画分屏介绍： 选型简单</a:t>
            </a:r>
            <a:r>
              <a:rPr lang="en-US" altLang="zh-CN" dirty="0"/>
              <a:t>CX</a:t>
            </a:r>
            <a:r>
              <a:rPr lang="zh-CN" altLang="en-US" dirty="0"/>
              <a:t>界面， 价格与</a:t>
            </a:r>
            <a:r>
              <a:rPr lang="en-US" altLang="zh-CN" dirty="0"/>
              <a:t>LST300</a:t>
            </a:r>
            <a:r>
              <a:rPr lang="zh-CN" altLang="en-US" dirty="0"/>
              <a:t>对比</a:t>
            </a:r>
            <a:endParaRPr lang="en-US" altLang="zh-CN"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8</a:t>
            </a:fld>
            <a:endParaRPr lang="en-US" dirty="0"/>
          </a:p>
        </p:txBody>
      </p:sp>
    </p:spTree>
    <p:extLst>
      <p:ext uri="{BB962C8B-B14F-4D97-AF65-F5344CB8AC3E}">
        <p14:creationId xmlns:p14="http://schemas.microsoft.com/office/powerpoint/2010/main" val="3838858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er can also benefit from the modular design: the spare parts are as simple as the cover,  O-ring and  LCD. And the sensor and electronics could be easily </a:t>
            </a:r>
            <a:r>
              <a:rPr lang="en-US" altLang="zh-CN" dirty="0"/>
              <a:t>replaced or upgraded</a:t>
            </a:r>
            <a:r>
              <a:rPr lang="en-US" dirty="0"/>
              <a:t> by service.</a:t>
            </a:r>
          </a:p>
          <a:p>
            <a:r>
              <a:rPr lang="en-US" dirty="0"/>
              <a:t>The modular design is also friendly to inventory management, quick delivery and possible future upgrade to meet customer needs</a:t>
            </a:r>
          </a:p>
        </p:txBody>
      </p:sp>
      <p:sp>
        <p:nvSpPr>
          <p:cNvPr id="4" name="Slide Number Placeholder 3"/>
          <p:cNvSpPr>
            <a:spLocks noGrp="1"/>
          </p:cNvSpPr>
          <p:nvPr>
            <p:ph type="sldNum" sz="quarter" idx="5"/>
          </p:nvPr>
        </p:nvSpPr>
        <p:spPr/>
        <p:txBody>
          <a:bodyPr/>
          <a:lstStyle/>
          <a:p>
            <a:fld id="{3A94E69C-C28A-4BE6-BE89-71D8FB2035FD}" type="slidenum">
              <a:rPr lang="en-US" smtClean="0"/>
              <a:pPr/>
              <a:t>9</a:t>
            </a:fld>
            <a:endParaRPr lang="en-US" dirty="0"/>
          </a:p>
        </p:txBody>
      </p:sp>
    </p:spTree>
    <p:extLst>
      <p:ext uri="{BB962C8B-B14F-4D97-AF65-F5344CB8AC3E}">
        <p14:creationId xmlns:p14="http://schemas.microsoft.com/office/powerpoint/2010/main" val="794799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 Title Sl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gray">
          <a:xfrm>
            <a:off x="2"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endParaRPr lang="en-US" dirty="0"/>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Rectangle 16"/>
          <p:cNvSpPr/>
          <p:nvPr/>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0" name="Picture 19"/>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681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9: Content">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7"/>
            <a:ext cx="11520000" cy="3982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4" name="Date Placeholder 3"/>
          <p:cNvSpPr>
            <a:spLocks noGrp="1"/>
          </p:cNvSpPr>
          <p:nvPr>
            <p:ph type="dt" sz="half" idx="18"/>
          </p:nvPr>
        </p:nvSpPr>
        <p:spPr bwMode="gray"/>
        <p:txBody>
          <a:bodyPr/>
          <a:lstStyle/>
          <a:p>
            <a:fld id="{FFAB2352-921F-4DD8-A99A-A1474F6943FF}" type="datetime4">
              <a:rPr lang="en-US" smtClean="0"/>
              <a:t>June 17, 2021</a:t>
            </a:fld>
            <a:endParaRPr lang="en-US" dirty="0"/>
          </a:p>
        </p:txBody>
      </p:sp>
      <p:sp>
        <p:nvSpPr>
          <p:cNvPr id="6" name="Footer Placeholder 5"/>
          <p:cNvSpPr>
            <a:spLocks noGrp="1"/>
          </p:cNvSpPr>
          <p:nvPr>
            <p:ph type="ftr" sz="quarter" idx="19"/>
          </p:nvPr>
        </p:nvSpPr>
        <p:spPr bwMode="gray"/>
        <p:txBody>
          <a:bodyPr/>
          <a:lstStyle/>
          <a:p>
            <a:pPr lvl="8"/>
            <a:endParaRPr lang="en-US" dirty="0"/>
          </a:p>
        </p:txBody>
      </p:sp>
      <p:sp>
        <p:nvSpPr>
          <p:cNvPr id="11" name="Slide Number Placeholder 10"/>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8"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988424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0: Content &amp; Box">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5"/>
            <a:ext cx="11520000" cy="343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4" name="Date Placeholder 3"/>
          <p:cNvSpPr>
            <a:spLocks noGrp="1"/>
          </p:cNvSpPr>
          <p:nvPr>
            <p:ph type="dt" sz="half" idx="18"/>
          </p:nvPr>
        </p:nvSpPr>
        <p:spPr bwMode="gray"/>
        <p:txBody>
          <a:bodyPr/>
          <a:lstStyle/>
          <a:p>
            <a:fld id="{FFAB2352-921F-4DD8-A99A-A1474F6943FF}" type="datetime4">
              <a:rPr lang="en-US" smtClean="0"/>
              <a:t>June 17, 2021</a:t>
            </a:fld>
            <a:endParaRPr lang="en-US" dirty="0"/>
          </a:p>
        </p:txBody>
      </p:sp>
      <p:sp>
        <p:nvSpPr>
          <p:cNvPr id="6" name="Footer Placeholder 5"/>
          <p:cNvSpPr>
            <a:spLocks noGrp="1"/>
          </p:cNvSpPr>
          <p:nvPr>
            <p:ph type="ftr" sz="quarter" idx="19"/>
          </p:nvPr>
        </p:nvSpPr>
        <p:spPr bwMode="gray"/>
        <p:txBody>
          <a:bodyPr/>
          <a:lstStyle/>
          <a:p>
            <a:pPr lvl="8"/>
            <a:endParaRPr lang="en-US" dirty="0"/>
          </a:p>
        </p:txBody>
      </p:sp>
      <p:sp>
        <p:nvSpPr>
          <p:cNvPr id="11" name="Slide Number Placeholder 10"/>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8" name="Subtitle 2"/>
          <p:cNvSpPr>
            <a:spLocks noGrp="1"/>
          </p:cNvSpPr>
          <p:nvPr>
            <p:ph type="subTitle" idx="13"/>
          </p:nvPr>
        </p:nvSpPr>
        <p:spPr bwMode="gray">
          <a:xfrm>
            <a:off x="332362"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0" name="Text Placeholder 7"/>
          <p:cNvSpPr>
            <a:spLocks noGrp="1"/>
          </p:cNvSpPr>
          <p:nvPr>
            <p:ph type="body" sz="quarter" idx="29"/>
          </p:nvPr>
        </p:nvSpPr>
        <p:spPr bwMode="gray">
          <a:xfrm>
            <a:off x="332362"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2066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1: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17488BFE-015E-452C-932B-DB979AC8F282}"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6" name="Subtitle 2"/>
          <p:cNvSpPr>
            <a:spLocks noGrp="1"/>
          </p:cNvSpPr>
          <p:nvPr>
            <p:ph type="subTitle" idx="13"/>
          </p:nvPr>
        </p:nvSpPr>
        <p:spPr bwMode="gray">
          <a:xfrm>
            <a:off x="334139"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7" name="Text Placeholder 11"/>
          <p:cNvSpPr>
            <a:spLocks noGrp="1"/>
          </p:cNvSpPr>
          <p:nvPr>
            <p:ph type="body" sz="quarter" idx="16"/>
          </p:nvPr>
        </p:nvSpPr>
        <p:spPr bwMode="gray">
          <a:xfrm>
            <a:off x="332368" y="1931192"/>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15"/>
          <p:cNvSpPr>
            <a:spLocks noGrp="1"/>
          </p:cNvSpPr>
          <p:nvPr>
            <p:ph sz="quarter" idx="19"/>
          </p:nvPr>
        </p:nvSpPr>
        <p:spPr bwMode="gray">
          <a:xfrm>
            <a:off x="332367" y="2317637"/>
            <a:ext cx="11520000" cy="359421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26165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2: Title (5)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D8D4DCBA-4C7A-4489-854D-9CAAB7BC53A0}"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9" name="Straight Connector 8"/>
          <p:cNvCxnSpPr/>
          <p:nvPr/>
        </p:nvCxnSpPr>
        <p:spPr bwMode="gray">
          <a:xfrm>
            <a:off x="42716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bwMode="gray">
          <a:xfrm>
            <a:off x="82100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6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1"/>
          <p:cNvSpPr>
            <a:spLocks noGrp="1"/>
          </p:cNvSpPr>
          <p:nvPr>
            <p:ph type="body" sz="quarter" idx="18"/>
          </p:nvPr>
        </p:nvSpPr>
        <p:spPr bwMode="gray">
          <a:xfrm>
            <a:off x="82100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p:nvPr/>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p:nvCxnSpPr>
        <p:spPr bwMode="gray">
          <a:xfrm>
            <a:off x="42716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p:nvCxnSpPr>
        <p:spPr bwMode="gray">
          <a:xfrm>
            <a:off x="82100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6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p:cNvSpPr>
            <a:spLocks noGrp="1"/>
          </p:cNvSpPr>
          <p:nvPr>
            <p:ph type="body" sz="quarter" idx="21"/>
          </p:nvPr>
        </p:nvSpPr>
        <p:spPr bwMode="gray">
          <a:xfrm>
            <a:off x="82100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3"/>
          <p:cNvSpPr>
            <a:spLocks noGrp="1"/>
          </p:cNvSpPr>
          <p:nvPr>
            <p:ph sz="quarter" idx="23"/>
          </p:nvPr>
        </p:nvSpPr>
        <p:spPr bwMode="gray">
          <a:xfrm>
            <a:off x="333263" y="1931195"/>
            <a:ext cx="3643200" cy="180926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3"/>
          <p:cNvSpPr>
            <a:spLocks noGrp="1"/>
          </p:cNvSpPr>
          <p:nvPr>
            <p:ph sz="quarter" idx="24"/>
          </p:nvPr>
        </p:nvSpPr>
        <p:spPr bwMode="gray">
          <a:xfrm>
            <a:off x="42716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Content Placeholder 3"/>
          <p:cNvSpPr>
            <a:spLocks noGrp="1"/>
          </p:cNvSpPr>
          <p:nvPr>
            <p:ph sz="quarter" idx="25"/>
          </p:nvPr>
        </p:nvSpPr>
        <p:spPr bwMode="gray">
          <a:xfrm>
            <a:off x="82100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3"/>
          <p:cNvSpPr>
            <a:spLocks noGrp="1"/>
          </p:cNvSpPr>
          <p:nvPr>
            <p:ph sz="quarter" idx="26"/>
          </p:nvPr>
        </p:nvSpPr>
        <p:spPr bwMode="gray">
          <a:xfrm>
            <a:off x="333263"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7"/>
          </p:nvPr>
        </p:nvSpPr>
        <p:spPr bwMode="gray">
          <a:xfrm>
            <a:off x="42716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3"/>
          <p:cNvSpPr>
            <a:spLocks noGrp="1"/>
          </p:cNvSpPr>
          <p:nvPr>
            <p:ph sz="quarter" idx="28"/>
          </p:nvPr>
        </p:nvSpPr>
        <p:spPr bwMode="gray">
          <a:xfrm>
            <a:off x="82100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415930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3: Title (6)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D8D4DCBA-4C7A-4489-854D-9CAAB7BC53A0}"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1"/>
          <p:cNvSpPr>
            <a:spLocks noGrp="1"/>
          </p:cNvSpPr>
          <p:nvPr>
            <p:ph type="body" sz="quarter" idx="18"/>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p:nvPr/>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p:nvCxnSpPr>
        <p:spPr bwMode="gray">
          <a:xfrm>
            <a:off x="4271795"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p:nvCxnSpPr>
        <p:spPr bwMode="gray">
          <a:xfrm>
            <a:off x="8210327"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796"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p:cNvSpPr>
            <a:spLocks noGrp="1"/>
          </p:cNvSpPr>
          <p:nvPr>
            <p:ph type="body" sz="quarter" idx="21"/>
          </p:nvPr>
        </p:nvSpPr>
        <p:spPr bwMode="gray">
          <a:xfrm>
            <a:off x="8210327"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3"/>
          <p:cNvSpPr>
            <a:spLocks noGrp="1"/>
          </p:cNvSpPr>
          <p:nvPr>
            <p:ph sz="quarter" idx="23"/>
          </p:nvPr>
        </p:nvSpPr>
        <p:spPr bwMode="gray">
          <a:xfrm>
            <a:off x="3332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3"/>
          <p:cNvSpPr>
            <a:spLocks noGrp="1"/>
          </p:cNvSpPr>
          <p:nvPr>
            <p:ph sz="quarter" idx="24"/>
          </p:nvPr>
        </p:nvSpPr>
        <p:spPr bwMode="gray">
          <a:xfrm>
            <a:off x="4271795"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Content Placeholder 3"/>
          <p:cNvSpPr>
            <a:spLocks noGrp="1"/>
          </p:cNvSpPr>
          <p:nvPr>
            <p:ph sz="quarter" idx="25"/>
          </p:nvPr>
        </p:nvSpPr>
        <p:spPr bwMode="gray">
          <a:xfrm>
            <a:off x="8210327"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3"/>
          <p:cNvSpPr>
            <a:spLocks noGrp="1"/>
          </p:cNvSpPr>
          <p:nvPr>
            <p:ph sz="quarter" idx="26"/>
          </p:nvPr>
        </p:nvSpPr>
        <p:spPr bwMode="gray">
          <a:xfrm>
            <a:off x="3332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7"/>
          </p:nvPr>
        </p:nvSpPr>
        <p:spPr bwMode="gray">
          <a:xfrm>
            <a:off x="4271796"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3"/>
          <p:cNvSpPr>
            <a:spLocks noGrp="1"/>
          </p:cNvSpPr>
          <p:nvPr>
            <p:ph sz="quarter" idx="28"/>
          </p:nvPr>
        </p:nvSpPr>
        <p:spPr bwMode="gray">
          <a:xfrm>
            <a:off x="8210327"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08995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4: Title &amp; Content (8)">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C55A9BD9-4AB1-4514-A40D-3F4348B2CF77}"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1492"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2"/>
          <p:cNvSpPr>
            <a:spLocks noGrp="1"/>
          </p:cNvSpPr>
          <p:nvPr>
            <p:ph sz="quarter" idx="25"/>
          </p:nvPr>
        </p:nvSpPr>
        <p:spPr bwMode="gray">
          <a:xfrm>
            <a:off x="333264" y="2317637"/>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32"/>
          <p:cNvSpPr>
            <a:spLocks noGrp="1"/>
          </p:cNvSpPr>
          <p:nvPr>
            <p:ph sz="quarter" idx="26"/>
          </p:nvPr>
        </p:nvSpPr>
        <p:spPr bwMode="gray">
          <a:xfrm>
            <a:off x="333264" y="4202644"/>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32"/>
          <p:cNvSpPr>
            <a:spLocks noGrp="1"/>
          </p:cNvSpPr>
          <p:nvPr>
            <p:ph sz="quarter" idx="27"/>
          </p:nvPr>
        </p:nvSpPr>
        <p:spPr bwMode="gray">
          <a:xfrm>
            <a:off x="6163300" y="2317637"/>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2"/>
          <p:cNvSpPr>
            <a:spLocks noGrp="1"/>
          </p:cNvSpPr>
          <p:nvPr>
            <p:ph sz="quarter" idx="28"/>
          </p:nvPr>
        </p:nvSpPr>
        <p:spPr bwMode="gray">
          <a:xfrm>
            <a:off x="6163300" y="4202644"/>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18"/>
          </p:nvPr>
        </p:nvSpPr>
        <p:spPr bwMode="gray">
          <a:xfrm>
            <a:off x="2259472" y="2317637"/>
            <a:ext cx="3757689" cy="1710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p:cNvSpPr>
            <a:spLocks noGrp="1"/>
          </p:cNvSpPr>
          <p:nvPr>
            <p:ph sz="quarter" idx="19"/>
          </p:nvPr>
        </p:nvSpPr>
        <p:spPr bwMode="gray">
          <a:xfrm>
            <a:off x="2259472" y="4202644"/>
            <a:ext cx="3757689" cy="17100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0"/>
          </p:nvPr>
        </p:nvSpPr>
        <p:spPr bwMode="gray">
          <a:xfrm>
            <a:off x="8093952" y="2317637"/>
            <a:ext cx="3759312" cy="1710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1"/>
          </p:nvPr>
        </p:nvSpPr>
        <p:spPr bwMode="gray">
          <a:xfrm>
            <a:off x="8093952" y="4202644"/>
            <a:ext cx="3759312" cy="17100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4" name="Straight Connector 23"/>
          <p:cNvCxnSpPr/>
          <p:nvPr/>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p:cNvCxnSpPr/>
          <p:nvPr/>
        </p:nvCxnSpPr>
        <p:spPr bwMode="gray">
          <a:xfrm>
            <a:off x="332368" y="4115141"/>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54928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5: Title &amp; Content (8) &amp; Box">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EAB57985-67D2-4C2C-8135-28A8C8C95665}"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2"/>
          <p:cNvSpPr>
            <a:spLocks noGrp="1"/>
          </p:cNvSpPr>
          <p:nvPr>
            <p:ph sz="quarter" idx="25"/>
          </p:nvPr>
        </p:nvSpPr>
        <p:spPr bwMode="gray">
          <a:xfrm>
            <a:off x="332367" y="2317637"/>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32"/>
          <p:cNvSpPr>
            <a:spLocks noGrp="1"/>
          </p:cNvSpPr>
          <p:nvPr>
            <p:ph sz="quarter" idx="26"/>
          </p:nvPr>
        </p:nvSpPr>
        <p:spPr bwMode="gray">
          <a:xfrm>
            <a:off x="332367" y="3925788"/>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32"/>
          <p:cNvSpPr>
            <a:spLocks noGrp="1"/>
          </p:cNvSpPr>
          <p:nvPr>
            <p:ph sz="quarter" idx="27"/>
          </p:nvPr>
        </p:nvSpPr>
        <p:spPr bwMode="gray">
          <a:xfrm>
            <a:off x="6163300" y="2317636"/>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2"/>
          <p:cNvSpPr>
            <a:spLocks noGrp="1"/>
          </p:cNvSpPr>
          <p:nvPr>
            <p:ph sz="quarter" idx="28"/>
          </p:nvPr>
        </p:nvSpPr>
        <p:spPr bwMode="gray">
          <a:xfrm>
            <a:off x="6163300" y="3925788"/>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18"/>
          </p:nvPr>
        </p:nvSpPr>
        <p:spPr bwMode="gray">
          <a:xfrm>
            <a:off x="2260482" y="2317636"/>
            <a:ext cx="3757436" cy="14364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p:cNvSpPr>
            <a:spLocks noGrp="1"/>
          </p:cNvSpPr>
          <p:nvPr>
            <p:ph sz="quarter" idx="19"/>
          </p:nvPr>
        </p:nvSpPr>
        <p:spPr bwMode="gray">
          <a:xfrm>
            <a:off x="2260482" y="3925788"/>
            <a:ext cx="3757436" cy="14364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0"/>
          </p:nvPr>
        </p:nvSpPr>
        <p:spPr bwMode="gray">
          <a:xfrm>
            <a:off x="8093953" y="2317636"/>
            <a:ext cx="3759312" cy="14364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1"/>
          </p:nvPr>
        </p:nvSpPr>
        <p:spPr bwMode="gray">
          <a:xfrm>
            <a:off x="8093953" y="3925788"/>
            <a:ext cx="3759312" cy="14364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7"/>
          <p:cNvSpPr>
            <a:spLocks noGrp="1"/>
          </p:cNvSpPr>
          <p:nvPr>
            <p:ph type="body" sz="quarter" idx="29"/>
          </p:nvPr>
        </p:nvSpPr>
        <p:spPr bwMode="gray">
          <a:xfrm>
            <a:off x="333264"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6" name="Straight Connector 25"/>
          <p:cNvCxnSpPr/>
          <p:nvPr/>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p:nvCxnSpPr>
        <p:spPr bwMode="gray">
          <a:xfrm>
            <a:off x="332368" y="3839912"/>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72332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369035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7: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343099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67" y="1931194"/>
            <a:ext cx="5603434" cy="34309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p:nvCxnSpPr>
        <p:spPr bwMode="gray">
          <a:xfrm>
            <a:off x="6095999" y="1931194"/>
            <a:ext cx="0" cy="343099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ext Placeholder 7"/>
          <p:cNvSpPr>
            <a:spLocks noGrp="1"/>
          </p:cNvSpPr>
          <p:nvPr>
            <p:ph type="body" sz="quarter" idx="29"/>
          </p:nvPr>
        </p:nvSpPr>
        <p:spPr bwMode="gray">
          <a:xfrm>
            <a:off x="332368" y="5453066"/>
            <a:ext cx="11520896"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373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8: Title (2)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43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p:nvCxnSpPr>
        <p:spPr bwMode="gray">
          <a:xfrm>
            <a:off x="33343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6249107" y="2317638"/>
            <a:ext cx="5604420" cy="359447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67" y="2317638"/>
            <a:ext cx="5603434"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38536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3: Title Slide 3">
    <p:spTree>
      <p:nvGrpSpPr>
        <p:cNvPr id="1" name=""/>
        <p:cNvGrpSpPr/>
        <p:nvPr/>
      </p:nvGrpSpPr>
      <p:grpSpPr>
        <a:xfrm>
          <a:off x="0" y="0"/>
          <a:ext cx="0" cy="0"/>
          <a:chOff x="0" y="0"/>
          <a:chExt cx="0" cy="0"/>
        </a:xfrm>
      </p:grpSpPr>
      <p:pic>
        <p:nvPicPr>
          <p:cNvPr id="41" name="Picture Placeholder 10"/>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gray">
          <a:xfrm>
            <a:off x="2" y="0"/>
            <a:ext cx="12192000" cy="4610100"/>
          </a:xfrm>
          <a:prstGeom prst="rect">
            <a:avLst/>
          </a:prstGeom>
        </p:spPr>
      </p:pic>
      <p:sp>
        <p:nvSpPr>
          <p:cNvPr id="22" name="Text Placeholder 5"/>
          <p:cNvSpPr>
            <a:spLocks noGrp="1"/>
          </p:cNvSpPr>
          <p:nvPr>
            <p:ph type="body" sz="quarter" idx="16"/>
          </p:nvPr>
        </p:nvSpPr>
        <p:spPr bwMode="gray">
          <a:xfrm>
            <a:off x="335757"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Rectangle 18"/>
          <p:cNvSpPr/>
          <p:nvPr/>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244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9: Title (2) &amp;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C4B2A68-D918-4286-96B0-6342B7A9B0CE}"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236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p:nvCxnSpPr>
        <p:spPr bwMode="gray">
          <a:xfrm>
            <a:off x="33236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6248327" y="2317638"/>
            <a:ext cx="5605200" cy="295097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65" y="2317638"/>
            <a:ext cx="5605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 Placeholder 7"/>
          <p:cNvSpPr>
            <a:spLocks noGrp="1"/>
          </p:cNvSpPr>
          <p:nvPr>
            <p:ph type="body" sz="quarter" idx="29"/>
          </p:nvPr>
        </p:nvSpPr>
        <p:spPr bwMode="gray">
          <a:xfrm>
            <a:off x="332583" y="5453066"/>
            <a:ext cx="11520682"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755171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0: Title (2) &amp; Content (2)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972E678C-17C0-4756-8034-8236E2D4136B}"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p:nvCxnSpPr>
        <p:spPr bwMode="gray">
          <a:xfrm>
            <a:off x="624375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6248044" y="2317638"/>
            <a:ext cx="5605200" cy="359447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4" y="2317638"/>
            <a:ext cx="56052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Gleichschenkliges Dreieck 46"/>
          <p:cNvSpPr/>
          <p:nvPr/>
        </p:nvSpPr>
        <p:spPr bwMode="gray">
          <a:xfrm rot="5400000">
            <a:off x="4334900" y="4088006"/>
            <a:ext cx="3523271" cy="124946"/>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16" name="Subtitle 2"/>
          <p:cNvSpPr>
            <a:spLocks noGrp="1"/>
          </p:cNvSpPr>
          <p:nvPr>
            <p:ph type="subTitle" idx="13"/>
          </p:nvPr>
        </p:nvSpPr>
        <p:spPr bwMode="gray">
          <a:xfrm>
            <a:off x="332367" y="1085213"/>
            <a:ext cx="1152087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5601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1: Title (2) &amp; Content (2) &amp; Box / Arrow">
    <p:spTree>
      <p:nvGrpSpPr>
        <p:cNvPr id="1" name=""/>
        <p:cNvGrpSpPr/>
        <p:nvPr/>
      </p:nvGrpSpPr>
      <p:grpSpPr>
        <a:xfrm>
          <a:off x="0" y="0"/>
          <a:ext cx="0" cy="0"/>
          <a:chOff x="0" y="0"/>
          <a:chExt cx="0" cy="0"/>
        </a:xfrm>
      </p:grpSpPr>
      <p:sp>
        <p:nvSpPr>
          <p:cNvPr id="16" name="Gleichschenkliges Dreieck 46"/>
          <p:cNvSpPr/>
          <p:nvPr/>
        </p:nvSpPr>
        <p:spPr bwMode="gray">
          <a:xfrm rot="5400000">
            <a:off x="4656514" y="3766499"/>
            <a:ext cx="2879662" cy="124579"/>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6DACDBD-1DFF-49BA-A724-30E3F02C142A}"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p:nvCxnSpPr>
        <p:spPr bwMode="gray">
          <a:xfrm>
            <a:off x="33326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p:nvCxnSpPr>
        <p:spPr bwMode="gray">
          <a:xfrm>
            <a:off x="624375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6248045" y="2317751"/>
            <a:ext cx="5605200" cy="2950867"/>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4" y="2317751"/>
            <a:ext cx="56052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7"/>
          <p:cNvSpPr>
            <a:spLocks noGrp="1"/>
          </p:cNvSpPr>
          <p:nvPr>
            <p:ph type="body" sz="quarter" idx="29"/>
          </p:nvPr>
        </p:nvSpPr>
        <p:spPr bwMode="gray">
          <a:xfrm>
            <a:off x="332367" y="5453066"/>
            <a:ext cx="1152116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ubtitle 2"/>
          <p:cNvSpPr>
            <a:spLocks noGrp="1"/>
          </p:cNvSpPr>
          <p:nvPr>
            <p:ph type="subTitle" idx="13"/>
          </p:nvPr>
        </p:nvSpPr>
        <p:spPr bwMode="gray">
          <a:xfrm>
            <a:off x="332367" y="1085213"/>
            <a:ext cx="1152116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45658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2: Title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C1783AD7-02E7-449A-B532-68934DEE5F31}"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0"/>
          </p:nvPr>
        </p:nvSpPr>
        <p:spPr bwMode="gray">
          <a:xfrm>
            <a:off x="6248045" y="1931195"/>
            <a:ext cx="560520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4" y="2317640"/>
            <a:ext cx="5605200"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4" name="Straight Connector 23"/>
          <p:cNvCxnSpPr/>
          <p:nvPr/>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61486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3: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6249107" y="3989616"/>
            <a:ext cx="5604420"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266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4: Title (3) &amp; Content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p:cNvSpPr>
            <a:spLocks noGrp="1"/>
          </p:cNvSpPr>
          <p:nvPr>
            <p:ph type="body" sz="quarter" idx="18"/>
          </p:nvPr>
        </p:nvSpPr>
        <p:spPr bwMode="gray">
          <a:xfrm>
            <a:off x="6248045"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5"/>
          <p:cNvSpPr>
            <a:spLocks noGrp="1"/>
          </p:cNvSpPr>
          <p:nvPr>
            <p:ph sz="quarter" idx="20"/>
          </p:nvPr>
        </p:nvSpPr>
        <p:spPr bwMode="gray">
          <a:xfrm>
            <a:off x="6248045" y="2318321"/>
            <a:ext cx="5605200" cy="148419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9"/>
          </p:nvPr>
        </p:nvSpPr>
        <p:spPr bwMode="gray">
          <a:xfrm>
            <a:off x="333264" y="2317640"/>
            <a:ext cx="5605200" cy="35951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6C11801-1BEF-46D9-879F-590C601D8597}" type="datetime4">
              <a:rPr lang="en-US" smtClean="0"/>
              <a:t>June 17, 2021</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p:nvCxnSpPr>
        <p:spPr bwMode="gray">
          <a:xfrm>
            <a:off x="6248045"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4432235"/>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2" name="Straight Connector 31"/>
          <p:cNvCxnSpPr/>
          <p:nvPr/>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0395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5: Title (3) &amp; Content (3) &amp; Box">
    <p:spTree>
      <p:nvGrpSpPr>
        <p:cNvPr id="1" name=""/>
        <p:cNvGrpSpPr/>
        <p:nvPr/>
      </p:nvGrpSpPr>
      <p:grpSpPr>
        <a:xfrm>
          <a:off x="0" y="0"/>
          <a:ext cx="0" cy="0"/>
          <a:chOff x="0" y="0"/>
          <a:chExt cx="0" cy="0"/>
        </a:xfrm>
      </p:grpSpPr>
      <p:sp>
        <p:nvSpPr>
          <p:cNvPr id="27" name="Text Placeholder 11"/>
          <p:cNvSpPr>
            <a:spLocks noGrp="1"/>
          </p:cNvSpPr>
          <p:nvPr>
            <p:ph type="body" sz="quarter" idx="22"/>
          </p:nvPr>
        </p:nvSpPr>
        <p:spPr bwMode="gray">
          <a:xfrm>
            <a:off x="332366" y="5452639"/>
            <a:ext cx="11520877"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5"/>
          <p:cNvSpPr>
            <a:spLocks noGrp="1"/>
          </p:cNvSpPr>
          <p:nvPr>
            <p:ph sz="quarter" idx="20"/>
          </p:nvPr>
        </p:nvSpPr>
        <p:spPr bwMode="gray">
          <a:xfrm>
            <a:off x="6248043" y="2317641"/>
            <a:ext cx="5605200"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9"/>
          </p:nvPr>
        </p:nvSpPr>
        <p:spPr bwMode="gray">
          <a:xfrm>
            <a:off x="333264" y="2317637"/>
            <a:ext cx="5605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17"/>
          </p:nvPr>
        </p:nvSpPr>
        <p:spPr bwMode="gray">
          <a:xfrm>
            <a:off x="6248043"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p:cNvSpPr>
            <a:spLocks noGrp="1"/>
          </p:cNvSpPr>
          <p:nvPr>
            <p:ph type="body" sz="quarter" idx="18"/>
          </p:nvPr>
        </p:nvSpPr>
        <p:spPr bwMode="gray">
          <a:xfrm>
            <a:off x="6248043" y="383124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75ACC3D8-F658-404B-AC58-DFDEB860C833}" type="datetime4">
              <a:rPr lang="en-US" smtClean="0"/>
              <a:t>June 17, 2021</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p:nvCxnSpPr>
        <p:spPr bwMode="gray">
          <a:xfrm>
            <a:off x="6248043"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p:nvCxnSpPr>
        <p:spPr bwMode="gray">
          <a:xfrm>
            <a:off x="6248043" y="4135561"/>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3" y="4214707"/>
            <a:ext cx="5605200"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
        <p:nvSpPr>
          <p:cNvPr id="19"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7" name="Straight Connector 36"/>
          <p:cNvCxnSpPr/>
          <p:nvPr/>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73904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6: Title &amp; Content (2)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E78DB5F-64D9-442E-954C-935C935B4142}"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2582" y="1931195"/>
            <a:ext cx="206420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2700027" y="1931195"/>
            <a:ext cx="915350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582" y="2317640"/>
            <a:ext cx="2064201"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p:cNvCxnSpPr/>
          <p:nvPr/>
        </p:nvCxnSpPr>
        <p:spPr bwMode="gray">
          <a:xfrm>
            <a:off x="333983" y="2238495"/>
            <a:ext cx="2062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6" name="Straight Connector 25"/>
          <p:cNvCxnSpPr/>
          <p:nvPr/>
        </p:nvCxnSpPr>
        <p:spPr bwMode="gray">
          <a:xfrm>
            <a:off x="2548405"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788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7: Title &amp; Content (2)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E78DB5F-64D9-442E-954C-935C935B4142}"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5"/>
            <a:ext cx="4093766"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4724929" y="1931195"/>
            <a:ext cx="7128598"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3" y="2317640"/>
            <a:ext cx="4093767"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p:cNvCxnSpPr/>
          <p:nvPr/>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6" name="Straight Connector 25"/>
          <p:cNvCxnSpPr/>
          <p:nvPr/>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8882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8: Title (3) &amp; Content (3)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409376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17"/>
          </p:nvPr>
        </p:nvSpPr>
        <p:spPr bwMode="gray">
          <a:xfrm>
            <a:off x="4724453" y="1931194"/>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p:cNvSpPr>
            <a:spLocks noGrp="1"/>
          </p:cNvSpPr>
          <p:nvPr>
            <p:ph type="body" sz="quarter" idx="18"/>
          </p:nvPr>
        </p:nvSpPr>
        <p:spPr bwMode="gray">
          <a:xfrm>
            <a:off x="4724453" y="4042705"/>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5"/>
          <p:cNvSpPr>
            <a:spLocks noGrp="1"/>
          </p:cNvSpPr>
          <p:nvPr>
            <p:ph sz="quarter" idx="20"/>
          </p:nvPr>
        </p:nvSpPr>
        <p:spPr bwMode="gray">
          <a:xfrm>
            <a:off x="4724453" y="2317638"/>
            <a:ext cx="7128811" cy="148354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9"/>
          </p:nvPr>
        </p:nvSpPr>
        <p:spPr bwMode="gray">
          <a:xfrm>
            <a:off x="333264" y="2317638"/>
            <a:ext cx="4094665"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21D0314D-AAD8-43AE-987E-1CD311B19016}" type="datetime4">
              <a:rPr lang="en-US" smtClean="0"/>
              <a:t>June 17, 2021</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11" name="Straight Connector 9"/>
          <p:cNvCxnSpPr/>
          <p:nvPr/>
        </p:nvCxnSpPr>
        <p:spPr bwMode="gray">
          <a:xfrm>
            <a:off x="4725264"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p:nvCxnSpPr>
        <p:spPr bwMode="gray">
          <a:xfrm>
            <a:off x="4725264" y="4349421"/>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4724453" y="4428564"/>
            <a:ext cx="7128811" cy="148354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
        <p:nvSpPr>
          <p:cNvPr id="20"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7" name="Straight Connector 36"/>
          <p:cNvCxnSpPr/>
          <p:nvPr/>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1" name="Straight Connector 40"/>
          <p:cNvCxnSpPr/>
          <p:nvPr/>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83669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3: Title Slide 3">
    <p:spTree>
      <p:nvGrpSpPr>
        <p:cNvPr id="1" name=""/>
        <p:cNvGrpSpPr/>
        <p:nvPr/>
      </p:nvGrpSpPr>
      <p:grpSpPr>
        <a:xfrm>
          <a:off x="0" y="0"/>
          <a:ext cx="0" cy="0"/>
          <a:chOff x="0" y="0"/>
          <a:chExt cx="0" cy="0"/>
        </a:xfrm>
      </p:grpSpPr>
      <p:sp>
        <p:nvSpPr>
          <p:cNvPr id="22" name="Text Placeholder 5"/>
          <p:cNvSpPr>
            <a:spLocks noGrp="1"/>
          </p:cNvSpPr>
          <p:nvPr>
            <p:ph type="body" sz="quarter" idx="16"/>
          </p:nvPr>
        </p:nvSpPr>
        <p:spPr bwMode="gray">
          <a:xfrm>
            <a:off x="335757"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Rectangle 18"/>
          <p:cNvSpPr/>
          <p:nvPr/>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 y="-18661"/>
            <a:ext cx="12190412" cy="4635111"/>
          </a:xfrm>
          <a:prstGeom prst="rect">
            <a:avLst/>
          </a:prstGeom>
        </p:spPr>
      </p:pic>
    </p:spTree>
    <p:extLst>
      <p:ext uri="{BB962C8B-B14F-4D97-AF65-F5344CB8AC3E}">
        <p14:creationId xmlns:p14="http://schemas.microsoft.com/office/powerpoint/2010/main" val="423098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9: Title (3) &amp; Content (3) &amp; Box 3">
    <p:spTree>
      <p:nvGrpSpPr>
        <p:cNvPr id="1" name=""/>
        <p:cNvGrpSpPr/>
        <p:nvPr/>
      </p:nvGrpSpPr>
      <p:grpSpPr>
        <a:xfrm>
          <a:off x="0" y="0"/>
          <a:ext cx="0" cy="0"/>
          <a:chOff x="0" y="0"/>
          <a:chExt cx="0" cy="0"/>
        </a:xfrm>
      </p:grpSpPr>
      <p:cxnSp>
        <p:nvCxnSpPr>
          <p:cNvPr id="42" name="Straight Connector 41"/>
          <p:cNvCxnSpPr/>
          <p:nvPr/>
        </p:nvCxnSpPr>
        <p:spPr bwMode="gray">
          <a:xfrm>
            <a:off x="457598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 Placeholder 11"/>
          <p:cNvSpPr>
            <a:spLocks noGrp="1"/>
          </p:cNvSpPr>
          <p:nvPr>
            <p:ph type="body" sz="quarter" idx="22"/>
          </p:nvPr>
        </p:nvSpPr>
        <p:spPr bwMode="gray">
          <a:xfrm>
            <a:off x="332366" y="5452639"/>
            <a:ext cx="11521161"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5"/>
          <p:cNvSpPr>
            <a:spLocks noGrp="1"/>
          </p:cNvSpPr>
          <p:nvPr>
            <p:ph sz="quarter" idx="20"/>
          </p:nvPr>
        </p:nvSpPr>
        <p:spPr bwMode="gray">
          <a:xfrm>
            <a:off x="4724930" y="2317641"/>
            <a:ext cx="7128597"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9"/>
          </p:nvPr>
        </p:nvSpPr>
        <p:spPr bwMode="gray">
          <a:xfrm>
            <a:off x="333264" y="2317638"/>
            <a:ext cx="4094664" cy="295097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6"/>
          </p:nvPr>
        </p:nvSpPr>
        <p:spPr bwMode="gray">
          <a:xfrm>
            <a:off x="332367" y="1931193"/>
            <a:ext cx="409466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17"/>
          </p:nvPr>
        </p:nvSpPr>
        <p:spPr bwMode="gray">
          <a:xfrm>
            <a:off x="4724930" y="1931193"/>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p:cNvSpPr>
            <a:spLocks noGrp="1"/>
          </p:cNvSpPr>
          <p:nvPr>
            <p:ph type="body" sz="quarter" idx="18"/>
          </p:nvPr>
        </p:nvSpPr>
        <p:spPr bwMode="gray">
          <a:xfrm>
            <a:off x="4724930" y="3831247"/>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C3EC54A-C632-4B8A-8DD8-4163ADA26599}" type="datetime4">
              <a:rPr lang="en-US" smtClean="0"/>
              <a:t>June 17, 2021</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28" name="Content Placeholder 15"/>
          <p:cNvSpPr>
            <a:spLocks noGrp="1"/>
          </p:cNvSpPr>
          <p:nvPr>
            <p:ph sz="quarter" idx="21"/>
          </p:nvPr>
        </p:nvSpPr>
        <p:spPr bwMode="gray">
          <a:xfrm>
            <a:off x="4724930" y="4214707"/>
            <a:ext cx="7128597"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9" name="Straight Connector 9"/>
          <p:cNvCxnSpPr/>
          <p:nvPr/>
        </p:nvCxnSpPr>
        <p:spPr bwMode="gray">
          <a:xfrm>
            <a:off x="4724930"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p:nvCxnSpPr>
        <p:spPr bwMode="gray">
          <a:xfrm>
            <a:off x="4727528" y="4136597"/>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en-US" dirty="0"/>
          </a:p>
        </p:txBody>
      </p:sp>
      <p:sp>
        <p:nvSpPr>
          <p:cNvPr id="20"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45" name="Straight Connector 44"/>
          <p:cNvCxnSpPr/>
          <p:nvPr/>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200631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0: Title (3) &amp;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094DB61-25C8-4EF5-ACA6-394B43063948}"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p:nvCxnSpPr>
        <p:spPr bwMode="gray">
          <a:xfrm>
            <a:off x="4271795"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5" name="Straight Connector 34"/>
          <p:cNvCxnSpPr/>
          <p:nvPr/>
        </p:nvCxnSpPr>
        <p:spPr bwMode="gray">
          <a:xfrm>
            <a:off x="4124130"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p:nvCxnSpPr>
        <p:spPr bwMode="gray">
          <a:xfrm>
            <a:off x="8062662"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97065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1: Title (3) &amp; Content (3) &amp; Box 2">
    <p:spTree>
      <p:nvGrpSpPr>
        <p:cNvPr id="1" name=""/>
        <p:cNvGrpSpPr/>
        <p:nvPr/>
      </p:nvGrpSpPr>
      <p:grpSpPr>
        <a:xfrm>
          <a:off x="0" y="0"/>
          <a:ext cx="0" cy="0"/>
          <a:chOff x="0" y="0"/>
          <a:chExt cx="0" cy="0"/>
        </a:xfrm>
      </p:grpSpPr>
      <p:sp>
        <p:nvSpPr>
          <p:cNvPr id="18" name="Text Placeholder 17"/>
          <p:cNvSpPr>
            <a:spLocks noGrp="1"/>
          </p:cNvSpPr>
          <p:nvPr>
            <p:ph type="body" sz="quarter" idx="28"/>
          </p:nvPr>
        </p:nvSpPr>
        <p:spPr bwMode="gray">
          <a:xfrm>
            <a:off x="333264" y="5452639"/>
            <a:ext cx="1152026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6B2BC20-ABC6-478C-8E1B-2165F3667B32}"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4" name="Straight Connector 33"/>
          <p:cNvCxnSpPr/>
          <p:nvPr/>
        </p:nvCxnSpPr>
        <p:spPr bwMode="gray">
          <a:xfrm>
            <a:off x="412413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p:nvCxnSpPr>
        <p:spPr bwMode="gray">
          <a:xfrm>
            <a:off x="8062661"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474822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2: Title (3) &amp; Content (3)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F176D1A0-7D36-42FE-8B65-73ABE00A4B81}"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bwMode="gray">
          <a:xfrm>
            <a:off x="333264"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p:nvCxnSpPr>
        <p:spPr bwMode="gray">
          <a:xfrm>
            <a:off x="4271796"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831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p:nvCxnSpPr>
        <p:spPr bwMode="gray">
          <a:xfrm>
            <a:off x="8210327"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831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Gleichschenkliges Dreieck 46"/>
          <p:cNvSpPr/>
          <p:nvPr/>
        </p:nvSpPr>
        <p:spPr bwMode="gray">
          <a:xfrm rot="5400000">
            <a:off x="6301200" y="4088360"/>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19" name="Gleichschenkliges Dreieck 46"/>
          <p:cNvSpPr/>
          <p:nvPr/>
        </p:nvSpPr>
        <p:spPr bwMode="gray">
          <a:xfrm rot="5400000">
            <a:off x="2362815" y="4091269"/>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24"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40116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3: Title (3) &amp; Content (3) &amp; Box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E78EC23C-A2EE-4E37-B3CA-EB5FB6E0A626}"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Text Placeholder 17"/>
          <p:cNvSpPr>
            <a:spLocks noGrp="1"/>
          </p:cNvSpPr>
          <p:nvPr>
            <p:ph type="body" sz="quarter" idx="28"/>
          </p:nvPr>
        </p:nvSpPr>
        <p:spPr bwMode="gray">
          <a:xfrm>
            <a:off x="332581" y="5452639"/>
            <a:ext cx="1152068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9" name="Gleichschenkliges Dreieck 46"/>
          <p:cNvSpPr/>
          <p:nvPr/>
        </p:nvSpPr>
        <p:spPr bwMode="gray">
          <a:xfrm rot="5400000">
            <a:off x="6622950" y="3766612"/>
            <a:ext cx="2879092"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24" name="Gleichschenkliges Dreieck 46"/>
          <p:cNvSpPr/>
          <p:nvPr/>
        </p:nvSpPr>
        <p:spPr bwMode="gray">
          <a:xfrm rot="5400000">
            <a:off x="2684564" y="3769521"/>
            <a:ext cx="2879093"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1030063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4: Title (3) &amp; Content (6)">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2"/>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3"/>
          </p:nvPr>
        </p:nvSpPr>
        <p:spPr bwMode="gray">
          <a:xfrm>
            <a:off x="333264"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5"/>
          </p:nvPr>
        </p:nvSpPr>
        <p:spPr bwMode="gray">
          <a:xfrm>
            <a:off x="4271796"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3"/>
          <p:cNvSpPr>
            <a:spLocks noGrp="1"/>
          </p:cNvSpPr>
          <p:nvPr>
            <p:ph sz="quarter" idx="27"/>
          </p:nvPr>
        </p:nvSpPr>
        <p:spPr bwMode="gray">
          <a:xfrm>
            <a:off x="8210327"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FB49FC10-E749-4C4C-8DA8-5C5C82B618BE}"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4351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5: Title (3) &amp; Content (6) &amp; Box">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3"/>
          </p:nvPr>
        </p:nvSpPr>
        <p:spPr bwMode="gray">
          <a:xfrm>
            <a:off x="333264"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5"/>
          </p:nvPr>
        </p:nvSpPr>
        <p:spPr bwMode="gray">
          <a:xfrm>
            <a:off x="4271796"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3"/>
          <p:cNvSpPr>
            <a:spLocks noGrp="1"/>
          </p:cNvSpPr>
          <p:nvPr>
            <p:ph sz="quarter" idx="27"/>
          </p:nvPr>
        </p:nvSpPr>
        <p:spPr bwMode="gray">
          <a:xfrm>
            <a:off x="8210327"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A15E654D-F1FE-47BD-AEB4-A952F2E268AF}"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ext Placeholder 17"/>
          <p:cNvSpPr>
            <a:spLocks noGrp="1"/>
          </p:cNvSpPr>
          <p:nvPr>
            <p:ph type="body" sz="quarter" idx="31"/>
          </p:nvPr>
        </p:nvSpPr>
        <p:spPr bwMode="gray">
          <a:xfrm>
            <a:off x="333264" y="5452639"/>
            <a:ext cx="11520000"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72703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6: Content (5)">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332367" y="3989616"/>
            <a:ext cx="2655682"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55" y="1931194"/>
            <a:ext cx="2655214" cy="192249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p:nvCxnSpPr>
        <p:spPr bwMode="gray">
          <a:xfrm>
            <a:off x="313943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291292" y="1931194"/>
            <a:ext cx="5609417"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8" name="Straight Connector 17"/>
          <p:cNvCxnSpPr/>
          <p:nvPr/>
        </p:nvCxnSpPr>
        <p:spPr bwMode="gray">
          <a:xfrm>
            <a:off x="904951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2"/>
          </p:nvPr>
        </p:nvSpPr>
        <p:spPr bwMode="gray">
          <a:xfrm>
            <a:off x="9197845" y="3989616"/>
            <a:ext cx="2655682"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3"/>
          </p:nvPr>
        </p:nvSpPr>
        <p:spPr bwMode="gray">
          <a:xfrm>
            <a:off x="9198313" y="1931194"/>
            <a:ext cx="2655214" cy="192249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3607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7: Title (4)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79F5AED-CDE6-4CF9-A19E-ACD3A4FD6C29}"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3"/>
          </p:nvPr>
        </p:nvSpPr>
        <p:spPr bwMode="gray">
          <a:xfrm>
            <a:off x="333264"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5"/>
          </p:nvPr>
        </p:nvSpPr>
        <p:spPr bwMode="gray">
          <a:xfrm>
            <a:off x="3287752"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3"/>
          <p:cNvSpPr>
            <a:spLocks noGrp="1"/>
          </p:cNvSpPr>
          <p:nvPr>
            <p:ph sz="quarter" idx="27"/>
          </p:nvPr>
        </p:nvSpPr>
        <p:spPr bwMode="gray">
          <a:xfrm>
            <a:off x="6242240"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8" name="Straight Connector 17"/>
          <p:cNvCxnSpPr/>
          <p:nvPr/>
        </p:nvCxnSpPr>
        <p:spPr bwMode="gray">
          <a:xfrm>
            <a:off x="333264"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p:nvCxnSpPr>
        <p:spPr bwMode="gray">
          <a:xfrm>
            <a:off x="3287752"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p:nvCxnSpPr>
        <p:spPr bwMode="gray">
          <a:xfrm>
            <a:off x="6242240"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p:nvCxnSpPr>
        <p:spPr bwMode="gray">
          <a:xfrm>
            <a:off x="9196727"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9"/>
          </p:nvPr>
        </p:nvSpPr>
        <p:spPr bwMode="gray">
          <a:xfrm>
            <a:off x="9196727"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41" name="Straight Connector 40"/>
          <p:cNvCxnSpPr/>
          <p:nvPr/>
        </p:nvCxnSpPr>
        <p:spPr bwMode="gray">
          <a:xfrm>
            <a:off x="3138908"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2" name="Straight Connector 41"/>
          <p:cNvCxnSpPr/>
          <p:nvPr/>
        </p:nvCxnSpPr>
        <p:spPr bwMode="gray">
          <a:xfrm>
            <a:off x="9047884"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p:nvCxnSpPr>
        <p:spPr bwMode="gray">
          <a:xfrm>
            <a:off x="6093396"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28648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8: Title (4) &amp;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3"/>
          </p:nvPr>
        </p:nvSpPr>
        <p:spPr bwMode="gray">
          <a:xfrm>
            <a:off x="333264"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5"/>
          </p:nvPr>
        </p:nvSpPr>
        <p:spPr bwMode="gray">
          <a:xfrm>
            <a:off x="3287752"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3"/>
          <p:cNvSpPr>
            <a:spLocks noGrp="1"/>
          </p:cNvSpPr>
          <p:nvPr>
            <p:ph sz="quarter" idx="27"/>
          </p:nvPr>
        </p:nvSpPr>
        <p:spPr bwMode="gray">
          <a:xfrm>
            <a:off x="6242240"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8" name="Straight Connector 17"/>
          <p:cNvCxnSpPr/>
          <p:nvPr/>
        </p:nvCxnSpPr>
        <p:spPr bwMode="gray">
          <a:xfrm>
            <a:off x="333264"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p:nvCxnSpPr>
        <p:spPr bwMode="gray">
          <a:xfrm>
            <a:off x="3287752"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p:nvCxnSpPr>
        <p:spPr bwMode="gray">
          <a:xfrm>
            <a:off x="6242240"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p:nvCxnSpPr>
        <p:spPr bwMode="gray">
          <a:xfrm>
            <a:off x="9196727"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9"/>
          </p:nvPr>
        </p:nvSpPr>
        <p:spPr bwMode="gray">
          <a:xfrm>
            <a:off x="9196727"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Text Placeholder 17"/>
          <p:cNvSpPr>
            <a:spLocks noGrp="1"/>
          </p:cNvSpPr>
          <p:nvPr>
            <p:ph type="body" sz="quarter" idx="30"/>
          </p:nvPr>
        </p:nvSpPr>
        <p:spPr bwMode="gray">
          <a:xfrm>
            <a:off x="332366" y="5452639"/>
            <a:ext cx="11520897"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31"/>
          </p:nvPr>
        </p:nvSpPr>
        <p:spPr bwMode="gray"/>
        <p:txBody>
          <a:bodyPr/>
          <a:lstStyle/>
          <a:p>
            <a:fld id="{DF793CCD-C37B-40CA-9C03-8963978AEAF0}" type="datetime4">
              <a:rPr lang="en-US" smtClean="0"/>
              <a:t>June 17, 2021</a:t>
            </a:fld>
            <a:endParaRPr lang="en-US" dirty="0"/>
          </a:p>
        </p:txBody>
      </p:sp>
      <p:sp>
        <p:nvSpPr>
          <p:cNvPr id="8" name="Footer Placeholder 7"/>
          <p:cNvSpPr>
            <a:spLocks noGrp="1"/>
          </p:cNvSpPr>
          <p:nvPr>
            <p:ph type="ftr" sz="quarter" idx="32"/>
          </p:nvPr>
        </p:nvSpPr>
        <p:spPr bwMode="gray"/>
        <p:txBody>
          <a:bodyPr/>
          <a:lstStyle/>
          <a:p>
            <a:pPr lvl="8"/>
            <a:endParaRPr lang="en-US" dirty="0"/>
          </a:p>
        </p:txBody>
      </p:sp>
      <p:sp>
        <p:nvSpPr>
          <p:cNvPr id="10" name="Slide Number Placeholder 9"/>
          <p:cNvSpPr>
            <a:spLocks noGrp="1"/>
          </p:cNvSpPr>
          <p:nvPr>
            <p:ph type="sldNum" sz="quarter" idx="33"/>
          </p:nvPr>
        </p:nvSpPr>
        <p:spPr bwMode="gray"/>
        <p:txBody>
          <a:bodyPr/>
          <a:lstStyle/>
          <a:p>
            <a:r>
              <a:rPr lang="en-US" dirty="0"/>
              <a:t>Slide </a:t>
            </a:r>
            <a:fld id="{619F89D8-7AE3-494A-97F3-03D680869632}" type="slidenum">
              <a:rPr lang="en-US" smtClean="0"/>
              <a:pPr/>
              <a:t>‹#›</a:t>
            </a:fld>
            <a:endParaRPr lang="en-US" dirty="0"/>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42" name="Straight Connector 41"/>
          <p:cNvCxnSpPr/>
          <p:nvPr/>
        </p:nvCxnSpPr>
        <p:spPr bwMode="gray">
          <a:xfrm>
            <a:off x="3138908"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p:nvCxnSpPr>
        <p:spPr bwMode="gray">
          <a:xfrm>
            <a:off x="9047884"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4" name="Straight Connector 43"/>
          <p:cNvCxnSpPr/>
          <p:nvPr/>
        </p:nvCxnSpPr>
        <p:spPr bwMode="gray">
          <a:xfrm>
            <a:off x="6093396"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55573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3: Title Slide 3">
    <p:spTree>
      <p:nvGrpSpPr>
        <p:cNvPr id="1" name=""/>
        <p:cNvGrpSpPr/>
        <p:nvPr/>
      </p:nvGrpSpPr>
      <p:grpSpPr>
        <a:xfrm>
          <a:off x="0" y="0"/>
          <a:ext cx="0" cy="0"/>
          <a:chOff x="0" y="0"/>
          <a:chExt cx="0" cy="0"/>
        </a:xfrm>
      </p:grpSpPr>
      <p:sp>
        <p:nvSpPr>
          <p:cNvPr id="22" name="Text Placeholder 5"/>
          <p:cNvSpPr>
            <a:spLocks noGrp="1"/>
          </p:cNvSpPr>
          <p:nvPr>
            <p:ph type="body" sz="quarter" idx="16"/>
          </p:nvPr>
        </p:nvSpPr>
        <p:spPr bwMode="gray">
          <a:xfrm>
            <a:off x="335757"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Rectangle 18"/>
          <p:cNvSpPr/>
          <p:nvPr/>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8871"/>
            <a:ext cx="12192000" cy="4598640"/>
          </a:xfrm>
          <a:prstGeom prst="rect">
            <a:avLst/>
          </a:prstGeom>
        </p:spPr>
      </p:pic>
    </p:spTree>
    <p:extLst>
      <p:ext uri="{BB962C8B-B14F-4D97-AF65-F5344CB8AC3E}">
        <p14:creationId xmlns:p14="http://schemas.microsoft.com/office/powerpoint/2010/main" val="1578071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9: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50004" y="1931197"/>
            <a:ext cx="5603523"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4" y="1931197"/>
            <a:ext cx="5602537" cy="185386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p:nvCxnSpPr>
        <p:spPr bwMode="gray">
          <a:xfrm>
            <a:off x="6095999"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4209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0: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4259985" y="1931197"/>
            <a:ext cx="3643200"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4" y="1931197"/>
            <a:ext cx="3643200" cy="185386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p:nvCxnSpPr>
        <p:spPr bwMode="gray">
          <a:xfrm>
            <a:off x="4118225"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p:nvCxnSpPr>
        <p:spPr bwMode="gray">
          <a:xfrm>
            <a:off x="8056756"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4" name="Content Placeholder 3"/>
          <p:cNvSpPr>
            <a:spLocks noGrp="1"/>
          </p:cNvSpPr>
          <p:nvPr>
            <p:ph sz="quarter" idx="22"/>
          </p:nvPr>
        </p:nvSpPr>
        <p:spPr bwMode="gray">
          <a:xfrm>
            <a:off x="8210327" y="1931197"/>
            <a:ext cx="3643200"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178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41: Content (8)">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8" name="Straight Connector 17"/>
          <p:cNvCxnSpPr/>
          <p:nvPr/>
        </p:nvCxnSpPr>
        <p:spPr bwMode="gray">
          <a:xfrm>
            <a:off x="333527" y="3925094"/>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3287752"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2"/>
          </p:nvPr>
        </p:nvSpPr>
        <p:spPr bwMode="gray">
          <a:xfrm>
            <a:off x="333264"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3"/>
          <p:cNvSpPr>
            <a:spLocks noGrp="1"/>
          </p:cNvSpPr>
          <p:nvPr>
            <p:ph sz="quarter" idx="23"/>
          </p:nvPr>
        </p:nvSpPr>
        <p:spPr bwMode="gray">
          <a:xfrm>
            <a:off x="3287752"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4"/>
          </p:nvPr>
        </p:nvSpPr>
        <p:spPr bwMode="gray"/>
        <p:txBody>
          <a:bodyPr/>
          <a:lstStyle/>
          <a:p>
            <a:fld id="{32E27045-0511-42A6-9AC3-A3212EB42885}" type="datetime4">
              <a:rPr lang="en-US" smtClean="0"/>
              <a:t>June 17, 2021</a:t>
            </a:fld>
            <a:endParaRPr lang="en-US" dirty="0"/>
          </a:p>
        </p:txBody>
      </p:sp>
      <p:sp>
        <p:nvSpPr>
          <p:cNvPr id="4" name="Footer Placeholder 3"/>
          <p:cNvSpPr>
            <a:spLocks noGrp="1"/>
          </p:cNvSpPr>
          <p:nvPr>
            <p:ph type="ftr" sz="quarter" idx="25"/>
          </p:nvPr>
        </p:nvSpPr>
        <p:spPr bwMode="gray"/>
        <p:txBody>
          <a:bodyPr/>
          <a:lstStyle/>
          <a:p>
            <a:pPr lvl="8"/>
            <a:endParaRPr lang="en-US" dirty="0"/>
          </a:p>
        </p:txBody>
      </p:sp>
      <p:sp>
        <p:nvSpPr>
          <p:cNvPr id="5" name="Slide Number Placeholder 4"/>
          <p:cNvSpPr>
            <a:spLocks noGrp="1"/>
          </p:cNvSpPr>
          <p:nvPr>
            <p:ph type="sldNum" sz="quarter" idx="26"/>
          </p:nvPr>
        </p:nvSpPr>
        <p:spPr bwMode="gray"/>
        <p:txBody>
          <a:bodyPr/>
          <a:lstStyle/>
          <a:p>
            <a:r>
              <a:rPr lang="en-US" dirty="0"/>
              <a:t>Slide </a:t>
            </a:r>
            <a:fld id="{619F89D8-7AE3-494A-97F3-03D680869632}" type="slidenum">
              <a:rPr lang="en-US" smtClean="0"/>
              <a:pPr/>
              <a:t>‹#›</a:t>
            </a:fld>
            <a:endParaRPr lang="en-US" dirty="0"/>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4" name="Content Placeholder 3"/>
          <p:cNvSpPr>
            <a:spLocks noGrp="1"/>
          </p:cNvSpPr>
          <p:nvPr>
            <p:ph sz="quarter" idx="27"/>
          </p:nvPr>
        </p:nvSpPr>
        <p:spPr bwMode="gray">
          <a:xfrm>
            <a:off x="6242240"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3"/>
          <p:cNvSpPr>
            <a:spLocks noGrp="1"/>
          </p:cNvSpPr>
          <p:nvPr>
            <p:ph sz="quarter" idx="28"/>
          </p:nvPr>
        </p:nvSpPr>
        <p:spPr bwMode="gray">
          <a:xfrm>
            <a:off x="9196727"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3"/>
          <p:cNvSpPr>
            <a:spLocks noGrp="1"/>
          </p:cNvSpPr>
          <p:nvPr>
            <p:ph sz="quarter" idx="29"/>
          </p:nvPr>
        </p:nvSpPr>
        <p:spPr bwMode="gray">
          <a:xfrm>
            <a:off x="6242240"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Content Placeholder 3"/>
          <p:cNvSpPr>
            <a:spLocks noGrp="1"/>
          </p:cNvSpPr>
          <p:nvPr>
            <p:ph sz="quarter" idx="30"/>
          </p:nvPr>
        </p:nvSpPr>
        <p:spPr bwMode="gray">
          <a:xfrm>
            <a:off x="9196727"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3765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42: Title (4) &amp; Content (4)">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17"/>
          </p:nvPr>
        </p:nvSpPr>
        <p:spPr bwMode="gray">
          <a:xfrm>
            <a:off x="333264"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p:cNvSpPr>
            <a:spLocks noGrp="1"/>
          </p:cNvSpPr>
          <p:nvPr>
            <p:ph type="body" sz="quarter" idx="18"/>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5"/>
          <p:cNvSpPr>
            <a:spLocks noGrp="1"/>
          </p:cNvSpPr>
          <p:nvPr>
            <p:ph sz="quarter" idx="20"/>
          </p:nvPr>
        </p:nvSpPr>
        <p:spPr bwMode="gray">
          <a:xfrm>
            <a:off x="333264" y="4432235"/>
            <a:ext cx="5605200" cy="148419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9"/>
          </p:nvPr>
        </p:nvSpPr>
        <p:spPr bwMode="gray">
          <a:xfrm>
            <a:off x="333264" y="2317638"/>
            <a:ext cx="5605200" cy="148487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6C11801-1BEF-46D9-879F-590C601D8597}" type="datetime4">
              <a:rPr lang="en-US" smtClean="0"/>
              <a:t>June 17, 2021</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p:nvCxnSpPr>
        <p:spPr bwMode="gray">
          <a:xfrm>
            <a:off x="333264"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2317641"/>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bwMode="gray"/>
        <p:txBody>
          <a:bodyPr/>
          <a:lstStyle/>
          <a:p>
            <a:r>
              <a:rPr lang="en-US"/>
              <a:t>Click to edit Master title style</a:t>
            </a:r>
            <a:endParaRPr lang="en-US" dirty="0"/>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2" name="Straight Connector 31"/>
          <p:cNvCxnSpPr/>
          <p:nvPr/>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Text Placeholder 11"/>
          <p:cNvSpPr>
            <a:spLocks noGrp="1"/>
          </p:cNvSpPr>
          <p:nvPr>
            <p:ph type="body" sz="quarter" idx="22"/>
          </p:nvPr>
        </p:nvSpPr>
        <p:spPr bwMode="gray">
          <a:xfrm>
            <a:off x="6248045" y="404397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9" name="Straight Connector 14"/>
          <p:cNvCxnSpPr/>
          <p:nvPr/>
        </p:nvCxnSpPr>
        <p:spPr bwMode="gray">
          <a:xfrm>
            <a:off x="6248045" y="4351954"/>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Content Placeholder 15"/>
          <p:cNvSpPr>
            <a:spLocks noGrp="1"/>
          </p:cNvSpPr>
          <p:nvPr>
            <p:ph sz="quarter" idx="23"/>
          </p:nvPr>
        </p:nvSpPr>
        <p:spPr bwMode="gray">
          <a:xfrm>
            <a:off x="6248045" y="4430420"/>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6212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43: Content (4)">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p:nvCxnSpPr>
        <p:spPr bwMode="gray">
          <a:xfrm>
            <a:off x="6095999" y="1931195"/>
            <a:ext cx="0" cy="398224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8" name="Straight Connector 17"/>
          <p:cNvCxnSpPr/>
          <p:nvPr/>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6234129"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2"/>
          </p:nvPr>
        </p:nvSpPr>
        <p:spPr bwMode="gray">
          <a:xfrm>
            <a:off x="333264"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3"/>
          <p:cNvSpPr>
            <a:spLocks noGrp="1"/>
          </p:cNvSpPr>
          <p:nvPr>
            <p:ph sz="quarter" idx="23"/>
          </p:nvPr>
        </p:nvSpPr>
        <p:spPr bwMode="gray">
          <a:xfrm>
            <a:off x="6234129"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4"/>
          </p:nvPr>
        </p:nvSpPr>
        <p:spPr bwMode="gray"/>
        <p:txBody>
          <a:bodyPr/>
          <a:lstStyle/>
          <a:p>
            <a:fld id="{32E27045-0511-42A6-9AC3-A3212EB42885}" type="datetime4">
              <a:rPr lang="en-US" smtClean="0"/>
              <a:t>June 17, 2021</a:t>
            </a:fld>
            <a:endParaRPr lang="en-US" dirty="0"/>
          </a:p>
        </p:txBody>
      </p:sp>
      <p:sp>
        <p:nvSpPr>
          <p:cNvPr id="4" name="Footer Placeholder 3"/>
          <p:cNvSpPr>
            <a:spLocks noGrp="1"/>
          </p:cNvSpPr>
          <p:nvPr>
            <p:ph type="ftr" sz="quarter" idx="25"/>
          </p:nvPr>
        </p:nvSpPr>
        <p:spPr bwMode="gray"/>
        <p:txBody>
          <a:bodyPr/>
          <a:lstStyle/>
          <a:p>
            <a:pPr lvl="8"/>
            <a:endParaRPr lang="en-US" dirty="0"/>
          </a:p>
        </p:txBody>
      </p:sp>
      <p:sp>
        <p:nvSpPr>
          <p:cNvPr id="5" name="Slide Number Placeholder 4"/>
          <p:cNvSpPr>
            <a:spLocks noGrp="1"/>
          </p:cNvSpPr>
          <p:nvPr>
            <p:ph type="sldNum" sz="quarter" idx="26"/>
          </p:nvPr>
        </p:nvSpPr>
        <p:spPr bwMode="gray"/>
        <p:txBody>
          <a:bodyPr/>
          <a:lstStyle/>
          <a:p>
            <a:r>
              <a:rPr lang="en-US" dirty="0"/>
              <a:t>Slide </a:t>
            </a:r>
            <a:fld id="{619F89D8-7AE3-494A-97F3-03D680869632}" type="slidenum">
              <a:rPr lang="en-US" smtClean="0"/>
              <a:pPr/>
              <a:t>‹#›</a:t>
            </a:fld>
            <a:endParaRPr lang="en-US" dirty="0"/>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6" name="Title 5"/>
          <p:cNvSpPr>
            <a:spLocks noGrp="1"/>
          </p:cNvSpPr>
          <p:nvPr>
            <p:ph type="title"/>
          </p:nvPr>
        </p:nvSpPr>
        <p:spPr bwMode="gray"/>
        <p:txBody>
          <a:bodyPr/>
          <a:lstStyle/>
          <a:p>
            <a:r>
              <a:rPr lang="en-US"/>
              <a:t>Click to edit Master title style</a:t>
            </a:r>
            <a:endParaRPr lang="en-US" dirty="0"/>
          </a:p>
        </p:txBody>
      </p:sp>
    </p:spTree>
    <p:extLst>
      <p:ext uri="{BB962C8B-B14F-4D97-AF65-F5344CB8AC3E}">
        <p14:creationId xmlns:p14="http://schemas.microsoft.com/office/powerpoint/2010/main" val="1077524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44: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1" name="Content Placeholder 3"/>
          <p:cNvSpPr>
            <a:spLocks noGrp="1"/>
          </p:cNvSpPr>
          <p:nvPr>
            <p:ph sz="quarter" idx="20"/>
          </p:nvPr>
        </p:nvSpPr>
        <p:spPr bwMode="gray">
          <a:xfrm>
            <a:off x="33326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1"/>
          </p:nvPr>
        </p:nvSpPr>
        <p:spPr bwMode="gray">
          <a:xfrm>
            <a:off x="623234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2"/>
          </p:nvPr>
        </p:nvSpPr>
        <p:spPr bwMode="gray">
          <a:xfrm>
            <a:off x="33326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3"/>
          <p:cNvSpPr>
            <a:spLocks noGrp="1"/>
          </p:cNvSpPr>
          <p:nvPr>
            <p:ph sz="quarter" idx="23"/>
          </p:nvPr>
        </p:nvSpPr>
        <p:spPr bwMode="gray">
          <a:xfrm>
            <a:off x="623234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24"/>
          </p:nvPr>
        </p:nvSpPr>
        <p:spPr bwMode="gray">
          <a:xfrm>
            <a:off x="332367" y="5452639"/>
            <a:ext cx="11521160"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3" name="Straight Connector 22"/>
          <p:cNvCxnSpPr/>
          <p:nvPr/>
        </p:nvCxnSpPr>
        <p:spPr bwMode="gray">
          <a:xfrm>
            <a:off x="333527" y="359990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 name="Date Placeholder 2"/>
          <p:cNvSpPr>
            <a:spLocks noGrp="1"/>
          </p:cNvSpPr>
          <p:nvPr>
            <p:ph type="dt" sz="half" idx="25"/>
          </p:nvPr>
        </p:nvSpPr>
        <p:spPr bwMode="gray"/>
        <p:txBody>
          <a:bodyPr/>
          <a:lstStyle/>
          <a:p>
            <a:fld id="{6E7D5807-0F83-4687-8EA8-403E998DE912}" type="datetime4">
              <a:rPr lang="en-US" smtClean="0"/>
              <a:t>June 17, 2021</a:t>
            </a:fld>
            <a:endParaRPr lang="en-US" dirty="0"/>
          </a:p>
        </p:txBody>
      </p:sp>
      <p:sp>
        <p:nvSpPr>
          <p:cNvPr id="4" name="Footer Placeholder 3"/>
          <p:cNvSpPr>
            <a:spLocks noGrp="1"/>
          </p:cNvSpPr>
          <p:nvPr>
            <p:ph type="ftr" sz="quarter" idx="26"/>
          </p:nvPr>
        </p:nvSpPr>
        <p:spPr bwMode="gray"/>
        <p:txBody>
          <a:bodyPr/>
          <a:lstStyle/>
          <a:p>
            <a:pPr lvl="8"/>
            <a:endParaRPr lang="en-US" dirty="0"/>
          </a:p>
        </p:txBody>
      </p:sp>
      <p:sp>
        <p:nvSpPr>
          <p:cNvPr id="5" name="Slide Number Placeholder 4"/>
          <p:cNvSpPr>
            <a:spLocks noGrp="1"/>
          </p:cNvSpPr>
          <p:nvPr>
            <p:ph type="sldNum" sz="quarter" idx="27"/>
          </p:nvPr>
        </p:nvSpPr>
        <p:spPr bwMode="gray"/>
        <p:txBody>
          <a:bodyPr/>
          <a:lstStyle/>
          <a:p>
            <a:r>
              <a:rPr lang="en-US" dirty="0"/>
              <a:t>Slide </a:t>
            </a:r>
            <a:fld id="{619F89D8-7AE3-494A-97F3-03D680869632}" type="slidenum">
              <a:rPr lang="en-US" smtClean="0"/>
              <a:pPr/>
              <a:t>‹#›</a:t>
            </a:fld>
            <a:endParaRPr lang="en-US" dirty="0"/>
          </a:p>
        </p:txBody>
      </p:sp>
      <p:cxnSp>
        <p:nvCxnSpPr>
          <p:cNvPr id="14" name="Straight Connector 13"/>
          <p:cNvCxnSpPr/>
          <p:nvPr/>
        </p:nvCxnSpPr>
        <p:spPr bwMode="gray">
          <a:xfrm>
            <a:off x="6095999" y="1931195"/>
            <a:ext cx="0" cy="333742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093834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45: Title (2) &amp;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3" y="1931196"/>
            <a:ext cx="5361993" cy="191932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21"/>
          </p:nvPr>
        </p:nvSpPr>
        <p:spPr bwMode="gray">
          <a:xfrm>
            <a:off x="2553273" y="3993324"/>
            <a:ext cx="5361993" cy="191932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bwMode="gray">
          <a:xfrm>
            <a:off x="2551798" y="3921919"/>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2582" y="1931196"/>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4"/>
          </p:nvPr>
        </p:nvSpPr>
        <p:spPr bwMode="gray">
          <a:xfrm>
            <a:off x="332582" y="3993324"/>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6"/>
          </p:nvPr>
        </p:nvSpPr>
        <p:spPr bwMode="gray"/>
        <p:txBody>
          <a:bodyPr/>
          <a:lstStyle/>
          <a:p>
            <a:fld id="{D7448BAD-718D-41D5-B039-249ED06F3A4A}" type="datetime4">
              <a:rPr lang="en-US" smtClean="0"/>
              <a:t>June 17, 2021</a:t>
            </a:fld>
            <a:endParaRPr lang="en-US" dirty="0"/>
          </a:p>
        </p:txBody>
      </p:sp>
      <p:sp>
        <p:nvSpPr>
          <p:cNvPr id="4" name="Footer Placeholder 3"/>
          <p:cNvSpPr>
            <a:spLocks noGrp="1"/>
          </p:cNvSpPr>
          <p:nvPr>
            <p:ph type="ftr" sz="quarter" idx="27"/>
          </p:nvPr>
        </p:nvSpPr>
        <p:spPr bwMode="gray"/>
        <p:txBody>
          <a:bodyPr/>
          <a:lstStyle/>
          <a:p>
            <a:pPr lvl="8"/>
            <a:endParaRPr lang="en-US" dirty="0"/>
          </a:p>
        </p:txBody>
      </p:sp>
      <p:sp>
        <p:nvSpPr>
          <p:cNvPr id="5" name="Slide Number Placeholder 4"/>
          <p:cNvSpPr>
            <a:spLocks noGrp="1"/>
          </p:cNvSpPr>
          <p:nvPr>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909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46: Title (3)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3" y="1931196"/>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21"/>
          </p:nvPr>
        </p:nvSpPr>
        <p:spPr bwMode="gray">
          <a:xfrm>
            <a:off x="2553273" y="3305949"/>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2"/>
          </p:nvPr>
        </p:nvSpPr>
        <p:spPr bwMode="gray">
          <a:xfrm>
            <a:off x="2553273" y="4680702"/>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bwMode="gray">
          <a:xfrm>
            <a:off x="2554866" y="3235138"/>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p:cNvCxnSpPr/>
          <p:nvPr/>
        </p:nvCxnSpPr>
        <p:spPr bwMode="gray">
          <a:xfrm>
            <a:off x="2554866" y="4611082"/>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2367" y="1931196"/>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4"/>
          </p:nvPr>
        </p:nvSpPr>
        <p:spPr bwMode="gray">
          <a:xfrm>
            <a:off x="332367" y="3305949"/>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p:ph sz="quarter" idx="25"/>
          </p:nvPr>
        </p:nvSpPr>
        <p:spPr bwMode="gray">
          <a:xfrm>
            <a:off x="332367" y="4680702"/>
            <a:ext cx="1917663"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6"/>
          </p:nvPr>
        </p:nvSpPr>
        <p:spPr bwMode="gray"/>
        <p:txBody>
          <a:bodyPr/>
          <a:lstStyle/>
          <a:p>
            <a:fld id="{D7448BAD-718D-41D5-B039-249ED06F3A4A}" type="datetime4">
              <a:rPr lang="en-US" smtClean="0"/>
              <a:t>June 17, 2021</a:t>
            </a:fld>
            <a:endParaRPr lang="en-US" dirty="0"/>
          </a:p>
        </p:txBody>
      </p:sp>
      <p:sp>
        <p:nvSpPr>
          <p:cNvPr id="4" name="Footer Placeholder 3"/>
          <p:cNvSpPr>
            <a:spLocks noGrp="1"/>
          </p:cNvSpPr>
          <p:nvPr>
            <p:ph type="ftr" sz="quarter" idx="27"/>
          </p:nvPr>
        </p:nvSpPr>
        <p:spPr bwMode="gray"/>
        <p:txBody>
          <a:bodyPr/>
          <a:lstStyle/>
          <a:p>
            <a:pPr lvl="8"/>
            <a:endParaRPr lang="en-US" dirty="0"/>
          </a:p>
        </p:txBody>
      </p:sp>
      <p:sp>
        <p:nvSpPr>
          <p:cNvPr id="5" name="Slide Number Placeholder 4"/>
          <p:cNvSpPr>
            <a:spLocks noGrp="1"/>
          </p:cNvSpPr>
          <p:nvPr>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296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47: Title (3) &amp; Content (3)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3" y="1931196"/>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bwMode="gray">
          <a:xfrm>
            <a:off x="2554464" y="323513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305949"/>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2"/>
          </p:nvPr>
        </p:nvSpPr>
        <p:spPr bwMode="gray">
          <a:xfrm>
            <a:off x="2553273" y="4680702"/>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p:nvPr/>
        </p:nvCxnSpPr>
        <p:spPr bwMode="gray">
          <a:xfrm>
            <a:off x="2554464" y="461108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6"/>
          </p:nvPr>
        </p:nvSpPr>
        <p:spPr bwMode="gray"/>
        <p:txBody>
          <a:bodyPr/>
          <a:lstStyle/>
          <a:p>
            <a:fld id="{D7448BAD-718D-41D5-B039-249ED06F3A4A}" type="datetime4">
              <a:rPr lang="en-US" smtClean="0"/>
              <a:t>June 17, 2021</a:t>
            </a:fld>
            <a:endParaRPr lang="en-US" dirty="0"/>
          </a:p>
        </p:txBody>
      </p:sp>
      <p:sp>
        <p:nvSpPr>
          <p:cNvPr id="4" name="Footer Placeholder 3"/>
          <p:cNvSpPr>
            <a:spLocks noGrp="1"/>
          </p:cNvSpPr>
          <p:nvPr>
            <p:ph type="ftr" sz="quarter" idx="27"/>
          </p:nvPr>
        </p:nvSpPr>
        <p:spPr bwMode="gray"/>
        <p:txBody>
          <a:bodyPr/>
          <a:lstStyle/>
          <a:p>
            <a:pPr lvl="8"/>
            <a:endParaRPr lang="en-US" dirty="0"/>
          </a:p>
        </p:txBody>
      </p:sp>
      <p:sp>
        <p:nvSpPr>
          <p:cNvPr id="5" name="Slide Number Placeholder 4"/>
          <p:cNvSpPr>
            <a:spLocks noGrp="1"/>
          </p:cNvSpPr>
          <p:nvPr>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24756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8: Title (3) &amp; Content (3) &amp; Box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3" y="1931196"/>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bwMode="gray">
          <a:xfrm>
            <a:off x="2554464" y="301966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091669"/>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2"/>
          </p:nvPr>
        </p:nvSpPr>
        <p:spPr bwMode="gray">
          <a:xfrm>
            <a:off x="2553273" y="4252143"/>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p:nvPr/>
        </p:nvCxnSpPr>
        <p:spPr bwMode="gray">
          <a:xfrm>
            <a:off x="2554464" y="418014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4"/>
          </p:nvPr>
        </p:nvSpPr>
        <p:spPr bwMode="gray">
          <a:xfrm>
            <a:off x="333264" y="3091669"/>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p:ph sz="quarter" idx="25"/>
          </p:nvPr>
        </p:nvSpPr>
        <p:spPr bwMode="gray">
          <a:xfrm>
            <a:off x="333264" y="4252143"/>
            <a:ext cx="1916766" cy="101647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Text Placeholder 11"/>
          <p:cNvSpPr>
            <a:spLocks noGrp="1"/>
          </p:cNvSpPr>
          <p:nvPr>
            <p:ph type="body" sz="quarter" idx="26"/>
          </p:nvPr>
        </p:nvSpPr>
        <p:spPr bwMode="gray">
          <a:xfrm>
            <a:off x="332366"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7"/>
          </p:nvPr>
        </p:nvSpPr>
        <p:spPr bwMode="gray"/>
        <p:txBody>
          <a:bodyPr/>
          <a:lstStyle/>
          <a:p>
            <a:fld id="{AFC62351-A650-4DF6-986F-78B25B039145}" type="datetime4">
              <a:rPr lang="en-US" smtClean="0"/>
              <a:t>June 17, 2021</a:t>
            </a:fld>
            <a:endParaRPr lang="en-US" dirty="0"/>
          </a:p>
        </p:txBody>
      </p:sp>
      <p:sp>
        <p:nvSpPr>
          <p:cNvPr id="4" name="Footer Placeholder 3"/>
          <p:cNvSpPr>
            <a:spLocks noGrp="1"/>
          </p:cNvSpPr>
          <p:nvPr>
            <p:ph type="ftr" sz="quarter" idx="28"/>
          </p:nvPr>
        </p:nvSpPr>
        <p:spPr bwMode="gray"/>
        <p:txBody>
          <a:bodyPr/>
          <a:lstStyle/>
          <a:p>
            <a:pPr lvl="8"/>
            <a:endParaRPr lang="en-US" dirty="0"/>
          </a:p>
        </p:txBody>
      </p:sp>
      <p:sp>
        <p:nvSpPr>
          <p:cNvPr id="5" name="Slide Number Placeholder 4"/>
          <p:cNvSpPr>
            <a:spLocks noGrp="1"/>
          </p:cNvSpPr>
          <p:nvPr>
            <p:ph type="sldNum" sz="quarter" idx="29"/>
          </p:nvPr>
        </p:nvSpPr>
        <p:spPr bwMode="gray"/>
        <p:txBody>
          <a:bodyPr/>
          <a:lstStyle/>
          <a:p>
            <a:r>
              <a:rPr lang="en-US" dirty="0"/>
              <a:t>Slide </a:t>
            </a:r>
            <a:fld id="{619F89D8-7AE3-494A-97F3-03D680869632}" type="slidenum">
              <a:rPr lang="en-US" smtClean="0"/>
              <a:pPr/>
              <a:t>‹#›</a:t>
            </a:fld>
            <a:endParaRPr lang="en-US" dirty="0"/>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004856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 Title Slide 4">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bwMode="gray">
          <a:xfrm>
            <a:off x="2" y="0"/>
            <a:ext cx="12192000" cy="4610100"/>
          </a:xfrm>
        </p:spPr>
        <p:txBody>
          <a:bodyPr/>
          <a:lstStyle/>
          <a:p>
            <a:r>
              <a:rPr lang="en-US"/>
              <a:t>Click icon to add picture</a:t>
            </a:r>
          </a:p>
        </p:txBody>
      </p:sp>
      <p:sp>
        <p:nvSpPr>
          <p:cNvPr id="22"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89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49: Title (4) &amp; Content (4) &amp; Box / Number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1" name="Content Placeholder 3"/>
          <p:cNvSpPr>
            <a:spLocks noGrp="1"/>
          </p:cNvSpPr>
          <p:nvPr>
            <p:ph sz="quarter" idx="20"/>
          </p:nvPr>
        </p:nvSpPr>
        <p:spPr bwMode="gray">
          <a:xfrm>
            <a:off x="2818583" y="1931198"/>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21"/>
          </p:nvPr>
        </p:nvSpPr>
        <p:spPr bwMode="gray">
          <a:xfrm>
            <a:off x="2818583" y="2801554"/>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p:cNvSpPr>
            <a:spLocks noGrp="1"/>
          </p:cNvSpPr>
          <p:nvPr>
            <p:ph sz="quarter" idx="22"/>
          </p:nvPr>
        </p:nvSpPr>
        <p:spPr bwMode="gray">
          <a:xfrm>
            <a:off x="2818583" y="3671910"/>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6"/>
          </p:nvPr>
        </p:nvSpPr>
        <p:spPr bwMode="gray">
          <a:xfrm>
            <a:off x="332367"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Content Placeholder 3"/>
          <p:cNvSpPr>
            <a:spLocks noGrp="1"/>
          </p:cNvSpPr>
          <p:nvPr>
            <p:ph sz="quarter" idx="27"/>
          </p:nvPr>
        </p:nvSpPr>
        <p:spPr bwMode="gray">
          <a:xfrm>
            <a:off x="332582" y="1931198"/>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5" name="Content Placeholder 3"/>
          <p:cNvSpPr>
            <a:spLocks noGrp="1"/>
          </p:cNvSpPr>
          <p:nvPr>
            <p:ph sz="quarter" idx="28"/>
          </p:nvPr>
        </p:nvSpPr>
        <p:spPr bwMode="gray">
          <a:xfrm>
            <a:off x="332582" y="2801554"/>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9"/>
          </p:nvPr>
        </p:nvSpPr>
        <p:spPr bwMode="gray">
          <a:xfrm>
            <a:off x="332582" y="3671910"/>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p:ph sz="quarter" idx="30"/>
          </p:nvPr>
        </p:nvSpPr>
        <p:spPr bwMode="gray">
          <a:xfrm>
            <a:off x="2818583" y="4542265"/>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8" name="Content Placeholder 3"/>
          <p:cNvSpPr>
            <a:spLocks noGrp="1"/>
          </p:cNvSpPr>
          <p:nvPr>
            <p:ph sz="quarter" idx="31"/>
          </p:nvPr>
        </p:nvSpPr>
        <p:spPr bwMode="gray">
          <a:xfrm>
            <a:off x="332582" y="4542265"/>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9" name="Straight Connector 13"/>
          <p:cNvCxnSpPr/>
          <p:nvPr/>
        </p:nvCxnSpPr>
        <p:spPr bwMode="gray">
          <a:xfrm>
            <a:off x="1999567" y="2800986"/>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14"/>
          <p:cNvCxnSpPr/>
          <p:nvPr/>
        </p:nvCxnSpPr>
        <p:spPr bwMode="gray">
          <a:xfrm>
            <a:off x="1779054" y="31645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13"/>
          <p:cNvCxnSpPr/>
          <p:nvPr/>
        </p:nvCxnSpPr>
        <p:spPr bwMode="gray">
          <a:xfrm>
            <a:off x="1999567" y="4542262"/>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14"/>
          <p:cNvCxnSpPr/>
          <p:nvPr/>
        </p:nvCxnSpPr>
        <p:spPr bwMode="gray">
          <a:xfrm>
            <a:off x="1778487" y="4905862"/>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13"/>
          <p:cNvCxnSpPr/>
          <p:nvPr/>
        </p:nvCxnSpPr>
        <p:spPr bwMode="gray">
          <a:xfrm>
            <a:off x="1999567" y="1930348"/>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14"/>
          <p:cNvCxnSpPr/>
          <p:nvPr/>
        </p:nvCxnSpPr>
        <p:spPr bwMode="gray">
          <a:xfrm>
            <a:off x="1779502" y="2293948"/>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13"/>
          <p:cNvCxnSpPr/>
          <p:nvPr/>
        </p:nvCxnSpPr>
        <p:spPr bwMode="gray">
          <a:xfrm>
            <a:off x="1999568" y="3671624"/>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14"/>
          <p:cNvCxnSpPr/>
          <p:nvPr/>
        </p:nvCxnSpPr>
        <p:spPr bwMode="gray">
          <a:xfrm>
            <a:off x="1778487" y="4035224"/>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p:nvCxnSpPr>
        <p:spPr bwMode="gray">
          <a:xfrm>
            <a:off x="2072427" y="272954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2" name="Straight Connector 51"/>
          <p:cNvCxnSpPr/>
          <p:nvPr/>
        </p:nvCxnSpPr>
        <p:spPr bwMode="gray">
          <a:xfrm>
            <a:off x="2072427" y="35999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3" name="Straight Connector 52"/>
          <p:cNvCxnSpPr/>
          <p:nvPr/>
        </p:nvCxnSpPr>
        <p:spPr bwMode="gray">
          <a:xfrm>
            <a:off x="2072427" y="447025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 name="Date Placeholder 3"/>
          <p:cNvSpPr>
            <a:spLocks noGrp="1"/>
          </p:cNvSpPr>
          <p:nvPr>
            <p:ph type="dt" sz="half" idx="32"/>
          </p:nvPr>
        </p:nvSpPr>
        <p:spPr bwMode="gray"/>
        <p:txBody>
          <a:bodyPr/>
          <a:lstStyle/>
          <a:p>
            <a:fld id="{ED4418A7-E8E0-42C3-AC0C-9BF91949BA0B}" type="datetime4">
              <a:rPr lang="en-US" smtClean="0"/>
              <a:t>June 17, 2021</a:t>
            </a:fld>
            <a:endParaRPr lang="en-US" dirty="0"/>
          </a:p>
        </p:txBody>
      </p:sp>
      <p:sp>
        <p:nvSpPr>
          <p:cNvPr id="5" name="Footer Placeholder 4"/>
          <p:cNvSpPr>
            <a:spLocks noGrp="1"/>
          </p:cNvSpPr>
          <p:nvPr>
            <p:ph type="ftr" sz="quarter" idx="33"/>
          </p:nvPr>
        </p:nvSpPr>
        <p:spPr bwMode="gray"/>
        <p:txBody>
          <a:bodyPr/>
          <a:lstStyle/>
          <a:p>
            <a:pPr lvl="8"/>
            <a:endParaRPr lang="en-US" dirty="0"/>
          </a:p>
        </p:txBody>
      </p:sp>
      <p:sp>
        <p:nvSpPr>
          <p:cNvPr id="6" name="Slide Number Placeholder 5"/>
          <p:cNvSpPr>
            <a:spLocks noGrp="1"/>
          </p:cNvSpPr>
          <p:nvPr>
            <p:ph type="sldNum" sz="quarter" idx="34"/>
          </p:nvPr>
        </p:nvSpPr>
        <p:spPr bwMode="gray"/>
        <p:txBody>
          <a:bodyPr/>
          <a:lstStyle/>
          <a:p>
            <a:r>
              <a:rPr lang="en-US" dirty="0"/>
              <a:t>Slide </a:t>
            </a:r>
            <a:fld id="{619F89D8-7AE3-494A-97F3-03D680869632}" type="slidenum">
              <a:rPr lang="en-US" smtClean="0"/>
              <a:pPr/>
              <a:t>‹#›</a:t>
            </a:fld>
            <a:endParaRPr lang="en-US" dirty="0"/>
          </a:p>
        </p:txBody>
      </p:sp>
      <p:sp>
        <p:nvSpPr>
          <p:cNvPr id="34"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7" name="Content Placeholder 6"/>
          <p:cNvSpPr>
            <a:spLocks noGrp="1"/>
          </p:cNvSpPr>
          <p:nvPr>
            <p:ph sz="quarter" idx="35" hasCustomPrompt="1"/>
          </p:nvPr>
        </p:nvSpPr>
        <p:spPr>
          <a:xfrm>
            <a:off x="2218077" y="2100061"/>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1</a:t>
            </a:r>
            <a:endParaRPr lang="en-GB" dirty="0"/>
          </a:p>
        </p:txBody>
      </p:sp>
      <p:sp>
        <p:nvSpPr>
          <p:cNvPr id="54" name="Content Placeholder 6"/>
          <p:cNvSpPr>
            <a:spLocks noGrp="1"/>
          </p:cNvSpPr>
          <p:nvPr>
            <p:ph sz="quarter" idx="36" hasCustomPrompt="1"/>
          </p:nvPr>
        </p:nvSpPr>
        <p:spPr>
          <a:xfrm>
            <a:off x="2218077" y="29719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2</a:t>
            </a:r>
            <a:endParaRPr lang="en-GB" dirty="0"/>
          </a:p>
        </p:txBody>
      </p:sp>
      <p:sp>
        <p:nvSpPr>
          <p:cNvPr id="55" name="Content Placeholder 6"/>
          <p:cNvSpPr>
            <a:spLocks noGrp="1"/>
          </p:cNvSpPr>
          <p:nvPr>
            <p:ph sz="quarter" idx="37" hasCustomPrompt="1"/>
          </p:nvPr>
        </p:nvSpPr>
        <p:spPr>
          <a:xfrm>
            <a:off x="2218077" y="384341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3</a:t>
            </a:r>
            <a:endParaRPr lang="en-GB" dirty="0"/>
          </a:p>
        </p:txBody>
      </p:sp>
      <p:sp>
        <p:nvSpPr>
          <p:cNvPr id="56" name="Content Placeholder 6"/>
          <p:cNvSpPr>
            <a:spLocks noGrp="1"/>
          </p:cNvSpPr>
          <p:nvPr>
            <p:ph sz="quarter" idx="38" hasCustomPrompt="1"/>
          </p:nvPr>
        </p:nvSpPr>
        <p:spPr>
          <a:xfrm>
            <a:off x="2218077" y="4708172"/>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4</a:t>
            </a:r>
            <a:endParaRPr lang="en-GB" dirty="0"/>
          </a:p>
        </p:txBody>
      </p:sp>
    </p:spTree>
    <p:extLst>
      <p:ext uri="{BB962C8B-B14F-4D97-AF65-F5344CB8AC3E}">
        <p14:creationId xmlns:p14="http://schemas.microsoft.com/office/powerpoint/2010/main" val="403329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50: Matrix">
    <p:spTree>
      <p:nvGrpSpPr>
        <p:cNvPr id="1" name=""/>
        <p:cNvGrpSpPr/>
        <p:nvPr/>
      </p:nvGrpSpPr>
      <p:grpSpPr>
        <a:xfrm>
          <a:off x="0" y="0"/>
          <a:ext cx="0" cy="0"/>
          <a:chOff x="0" y="0"/>
          <a:chExt cx="0" cy="0"/>
        </a:xfrm>
      </p:grpSpPr>
      <p:sp>
        <p:nvSpPr>
          <p:cNvPr id="37" name="Text Placeholder 11"/>
          <p:cNvSpPr>
            <a:spLocks noGrp="1"/>
          </p:cNvSpPr>
          <p:nvPr>
            <p:ph type="body" sz="quarter" idx="26"/>
          </p:nvPr>
        </p:nvSpPr>
        <p:spPr bwMode="gray">
          <a:xfrm>
            <a:off x="2553272" y="1931194"/>
            <a:ext cx="289909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8" name="Text Placeholder 11"/>
          <p:cNvSpPr>
            <a:spLocks noGrp="1"/>
          </p:cNvSpPr>
          <p:nvPr>
            <p:ph type="body" sz="quarter" idx="27"/>
          </p:nvPr>
        </p:nvSpPr>
        <p:spPr bwMode="gray">
          <a:xfrm>
            <a:off x="575494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9" name="Text Placeholder 11"/>
          <p:cNvSpPr>
            <a:spLocks noGrp="1"/>
          </p:cNvSpPr>
          <p:nvPr>
            <p:ph type="body" sz="quarter" idx="28"/>
          </p:nvPr>
        </p:nvSpPr>
        <p:spPr bwMode="gray">
          <a:xfrm>
            <a:off x="895552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11" name="Content Placeholder 3"/>
          <p:cNvSpPr>
            <a:spLocks noGrp="1"/>
          </p:cNvSpPr>
          <p:nvPr>
            <p:ph sz="quarter" idx="20"/>
          </p:nvPr>
        </p:nvSpPr>
        <p:spPr bwMode="gray">
          <a:xfrm>
            <a:off x="2553272" y="2317748"/>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p:cNvSpPr>
            <a:spLocks noGrp="1"/>
          </p:cNvSpPr>
          <p:nvPr>
            <p:ph sz="quarter" idx="21"/>
          </p:nvPr>
        </p:nvSpPr>
        <p:spPr bwMode="gray">
          <a:xfrm>
            <a:off x="2553273" y="3573970"/>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3"/>
          <p:cNvSpPr>
            <a:spLocks noGrp="1"/>
          </p:cNvSpPr>
          <p:nvPr>
            <p:ph sz="quarter" idx="22"/>
          </p:nvPr>
        </p:nvSpPr>
        <p:spPr bwMode="gray">
          <a:xfrm>
            <a:off x="2553273" y="4830194"/>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8" name="Straight Connector 27"/>
          <p:cNvCxnSpPr/>
          <p:nvPr/>
        </p:nvCxnSpPr>
        <p:spPr bwMode="gray">
          <a:xfrm>
            <a:off x="2553272"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p:nvCxnSpPr>
        <p:spPr bwMode="gray">
          <a:xfrm>
            <a:off x="2550359"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0" name="Straight Connector 29"/>
          <p:cNvCxnSpPr/>
          <p:nvPr/>
        </p:nvCxnSpPr>
        <p:spPr bwMode="gray">
          <a:xfrm>
            <a:off x="2550359"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1" name="Straight Connector 30"/>
          <p:cNvCxnSpPr/>
          <p:nvPr/>
        </p:nvCxnSpPr>
        <p:spPr bwMode="gray">
          <a:xfrm>
            <a:off x="5754400"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2" name="Straight Connector 31"/>
          <p:cNvCxnSpPr/>
          <p:nvPr/>
        </p:nvCxnSpPr>
        <p:spPr bwMode="gray">
          <a:xfrm>
            <a:off x="5752943"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3" name="Straight Connector 32"/>
          <p:cNvCxnSpPr/>
          <p:nvPr/>
        </p:nvCxnSpPr>
        <p:spPr bwMode="gray">
          <a:xfrm>
            <a:off x="5752943"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4" name="Straight Connector 33"/>
          <p:cNvCxnSpPr/>
          <p:nvPr/>
        </p:nvCxnSpPr>
        <p:spPr bwMode="gray">
          <a:xfrm>
            <a:off x="8955527"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p:nvCxnSpPr>
        <p:spPr bwMode="gray">
          <a:xfrm>
            <a:off x="8955527"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p:nvCxnSpPr>
        <p:spPr bwMode="gray">
          <a:xfrm>
            <a:off x="8955527"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3" name="Content Placeholder 3"/>
          <p:cNvSpPr>
            <a:spLocks noGrp="1"/>
          </p:cNvSpPr>
          <p:nvPr>
            <p:ph sz="quarter" idx="29"/>
          </p:nvPr>
        </p:nvSpPr>
        <p:spPr bwMode="gray">
          <a:xfrm>
            <a:off x="5757301" y="2317748"/>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Content Placeholder 3"/>
          <p:cNvSpPr>
            <a:spLocks noGrp="1"/>
          </p:cNvSpPr>
          <p:nvPr>
            <p:ph sz="quarter" idx="30"/>
          </p:nvPr>
        </p:nvSpPr>
        <p:spPr bwMode="gray">
          <a:xfrm>
            <a:off x="5757302" y="3573970"/>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5" name="Content Placeholder 3"/>
          <p:cNvSpPr>
            <a:spLocks noGrp="1"/>
          </p:cNvSpPr>
          <p:nvPr>
            <p:ph sz="quarter" idx="31"/>
          </p:nvPr>
        </p:nvSpPr>
        <p:spPr bwMode="gray">
          <a:xfrm>
            <a:off x="5757302" y="4830194"/>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6" name="Content Placeholder 3"/>
          <p:cNvSpPr>
            <a:spLocks noGrp="1"/>
          </p:cNvSpPr>
          <p:nvPr>
            <p:ph sz="quarter" idx="32"/>
          </p:nvPr>
        </p:nvSpPr>
        <p:spPr bwMode="gray">
          <a:xfrm>
            <a:off x="8955527" y="2317748"/>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Content Placeholder 3"/>
          <p:cNvSpPr>
            <a:spLocks noGrp="1"/>
          </p:cNvSpPr>
          <p:nvPr>
            <p:ph sz="quarter" idx="33"/>
          </p:nvPr>
        </p:nvSpPr>
        <p:spPr bwMode="gray">
          <a:xfrm>
            <a:off x="8955527" y="3573970"/>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8" name="Content Placeholder 3"/>
          <p:cNvSpPr>
            <a:spLocks noGrp="1"/>
          </p:cNvSpPr>
          <p:nvPr>
            <p:ph sz="quarter" idx="34"/>
          </p:nvPr>
        </p:nvSpPr>
        <p:spPr bwMode="gray">
          <a:xfrm>
            <a:off x="8955527" y="4830194"/>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35"/>
          </p:nvPr>
        </p:nvSpPr>
        <p:spPr bwMode="gray"/>
        <p:txBody>
          <a:bodyPr/>
          <a:lstStyle/>
          <a:p>
            <a:fld id="{61D1DE91-E2DE-4375-B4FF-ECFCEDDDCBE0}" type="datetime4">
              <a:rPr lang="en-US" smtClean="0"/>
              <a:t>June 17, 2021</a:t>
            </a:fld>
            <a:endParaRPr lang="en-US" dirty="0"/>
          </a:p>
        </p:txBody>
      </p:sp>
      <p:sp>
        <p:nvSpPr>
          <p:cNvPr id="4" name="Footer Placeholder 3"/>
          <p:cNvSpPr>
            <a:spLocks noGrp="1"/>
          </p:cNvSpPr>
          <p:nvPr>
            <p:ph type="ftr" sz="quarter" idx="36"/>
          </p:nvPr>
        </p:nvSpPr>
        <p:spPr bwMode="gray"/>
        <p:txBody>
          <a:bodyPr/>
          <a:lstStyle/>
          <a:p>
            <a:pPr lvl="8"/>
            <a:endParaRPr lang="en-US" dirty="0"/>
          </a:p>
        </p:txBody>
      </p:sp>
      <p:sp>
        <p:nvSpPr>
          <p:cNvPr id="5" name="Slide Number Placeholder 4"/>
          <p:cNvSpPr>
            <a:spLocks noGrp="1"/>
          </p:cNvSpPr>
          <p:nvPr>
            <p:ph type="sldNum" sz="quarter" idx="37"/>
          </p:nvPr>
        </p:nvSpPr>
        <p:spPr bwMode="gray"/>
        <p:txBody>
          <a:bodyPr/>
          <a:lstStyle/>
          <a:p>
            <a:r>
              <a:rPr lang="en-US" dirty="0"/>
              <a:t>Slide </a:t>
            </a:r>
            <a:fld id="{619F89D8-7AE3-494A-97F3-03D680869632}" type="slidenum">
              <a:rPr lang="en-US" smtClean="0"/>
              <a:pPr/>
              <a:t>‹#›</a:t>
            </a:fld>
            <a:endParaRPr lang="en-US" dirty="0"/>
          </a:p>
        </p:txBody>
      </p:sp>
      <p:sp>
        <p:nvSpPr>
          <p:cNvPr id="41"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64454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51: Process">
    <p:spTree>
      <p:nvGrpSpPr>
        <p:cNvPr id="1" name=""/>
        <p:cNvGrpSpPr/>
        <p:nvPr/>
      </p:nvGrpSpPr>
      <p:grpSpPr>
        <a:xfrm>
          <a:off x="0" y="0"/>
          <a:ext cx="0" cy="0"/>
          <a:chOff x="0" y="0"/>
          <a:chExt cx="0" cy="0"/>
        </a:xfrm>
      </p:grpSpPr>
      <p:sp>
        <p:nvSpPr>
          <p:cNvPr id="9" name="Text Placeholder 11"/>
          <p:cNvSpPr>
            <a:spLocks noGrp="1"/>
          </p:cNvSpPr>
          <p:nvPr>
            <p:ph type="body" sz="quarter" idx="16"/>
          </p:nvPr>
        </p:nvSpPr>
        <p:spPr bwMode="gray">
          <a:xfrm>
            <a:off x="333264" y="1931945"/>
            <a:ext cx="3643200" cy="360000"/>
          </a:xfrm>
          <a:prstGeom prst="homePlate">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4271796"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8210327"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00C3FEDD-2DA3-4289-9B1F-96211D1B5114}"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3"/>
          </p:nvPr>
        </p:nvSpPr>
        <p:spPr bwMode="gray">
          <a:xfrm>
            <a:off x="333264"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5"/>
          </p:nvPr>
        </p:nvSpPr>
        <p:spPr bwMode="gray">
          <a:xfrm>
            <a:off x="4271796"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3"/>
          <p:cNvSpPr>
            <a:spLocks noGrp="1"/>
          </p:cNvSpPr>
          <p:nvPr>
            <p:ph sz="quarter" idx="27"/>
          </p:nvPr>
        </p:nvSpPr>
        <p:spPr bwMode="gray">
          <a:xfrm>
            <a:off x="8210327"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7" name="Straight Connector 26"/>
          <p:cNvCxnSpPr/>
          <p:nvPr/>
        </p:nvCxnSpPr>
        <p:spPr bwMode="gray">
          <a:xfrm>
            <a:off x="4124130"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p:nvCxnSpPr>
        <p:spPr bwMode="gray">
          <a:xfrm>
            <a:off x="8062662"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929577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52: Image">
    <p:spTree>
      <p:nvGrpSpPr>
        <p:cNvPr id="1" name=""/>
        <p:cNvGrpSpPr/>
        <p:nvPr/>
      </p:nvGrpSpPr>
      <p:grpSpPr>
        <a:xfrm>
          <a:off x="0" y="0"/>
          <a:ext cx="0" cy="0"/>
          <a:chOff x="0" y="0"/>
          <a:chExt cx="0" cy="0"/>
        </a:xfrm>
      </p:grpSpPr>
      <p:sp>
        <p:nvSpPr>
          <p:cNvPr id="9" name="Bildplatzhalter 8"/>
          <p:cNvSpPr>
            <a:spLocks noGrp="1"/>
          </p:cNvSpPr>
          <p:nvPr>
            <p:ph type="pic" sz="quarter" idx="17"/>
          </p:nvPr>
        </p:nvSpPr>
        <p:spPr bwMode="gray">
          <a:xfrm>
            <a:off x="2" y="0"/>
            <a:ext cx="12192000" cy="6858000"/>
          </a:xfrm>
          <a:custGeom>
            <a:avLst/>
            <a:gdLst>
              <a:gd name="connsiteX0" fmla="*/ 334746 w 12192000"/>
              <a:gd name="connsiteY0" fmla="*/ 530044 h 6858000"/>
              <a:gd name="connsiteX1" fmla="*/ 334746 w 12192000"/>
              <a:gd name="connsiteY1" fmla="*/ 558844 h 6858000"/>
              <a:gd name="connsiteX2" fmla="*/ 561546 w 12192000"/>
              <a:gd name="connsiteY2" fmla="*/ 558844 h 6858000"/>
              <a:gd name="connsiteX3" fmla="*/ 561546 w 12192000"/>
              <a:gd name="connsiteY3" fmla="*/ 53004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334746" y="530044"/>
                </a:moveTo>
                <a:lnTo>
                  <a:pt x="334746" y="558844"/>
                </a:lnTo>
                <a:lnTo>
                  <a:pt x="561546" y="558844"/>
                </a:lnTo>
                <a:lnTo>
                  <a:pt x="561546" y="530044"/>
                </a:lnTo>
                <a:close/>
                <a:moveTo>
                  <a:pt x="0" y="0"/>
                </a:moveTo>
                <a:lnTo>
                  <a:pt x="12192000" y="0"/>
                </a:lnTo>
                <a:lnTo>
                  <a:pt x="12192000" y="6858000"/>
                </a:lnTo>
                <a:lnTo>
                  <a:pt x="0" y="6858000"/>
                </a:lnTo>
                <a:close/>
              </a:path>
            </a:pathLst>
          </a:custGeom>
        </p:spPr>
        <p:txBody>
          <a:bodyPr wrap="square">
            <a:noAutofit/>
          </a:bodyPr>
          <a:lstStyle/>
          <a:p>
            <a:r>
              <a:rPr lang="en-US"/>
              <a:t>Click icon to add picture</a:t>
            </a:r>
            <a:endParaRPr lang="en-US" dirty="0"/>
          </a:p>
        </p:txBody>
      </p:sp>
      <p:sp>
        <p:nvSpPr>
          <p:cNvPr id="2" name="Title 1"/>
          <p:cNvSpPr>
            <a:spLocks noGrp="1"/>
          </p:cNvSpPr>
          <p:nvPr>
            <p:ph type="title"/>
          </p:nvPr>
        </p:nvSpPr>
        <p:spPr bwMode="gray">
          <a:xfrm>
            <a:off x="332366" y="622788"/>
            <a:ext cx="11520898" cy="396000"/>
          </a:xfrm>
        </p:spPr>
        <p:txBody>
          <a:bodyPr/>
          <a:lstStyle>
            <a:lvl1pPr>
              <a:defRPr sz="1800"/>
            </a:lvl1pPr>
          </a:lstStyle>
          <a:p>
            <a:r>
              <a:rPr lang="en-US"/>
              <a:t>Click to edit Master title style</a:t>
            </a:r>
            <a:endParaRPr lang="en-US" dirty="0"/>
          </a:p>
        </p:txBody>
      </p:sp>
      <p:sp>
        <p:nvSpPr>
          <p:cNvPr id="4" name="Date Placeholder 3"/>
          <p:cNvSpPr>
            <a:spLocks noGrp="1"/>
          </p:cNvSpPr>
          <p:nvPr>
            <p:ph type="dt" sz="half" idx="14"/>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A1F808C0-290B-4263-8A52-B569B4875133}" type="datetime4">
              <a:rPr lang="en-US" smtClean="0"/>
              <a:pPr/>
              <a:t>June 17, 2021</a:t>
            </a:fld>
            <a:endParaRPr lang="en-US" dirty="0"/>
          </a:p>
        </p:txBody>
      </p:sp>
      <p:sp>
        <p:nvSpPr>
          <p:cNvPr id="5" name="Footer Placeholder 4"/>
          <p:cNvSpPr>
            <a:spLocks noGrp="1"/>
          </p:cNvSpPr>
          <p:nvPr>
            <p:ph type="ftr" sz="quarter" idx="15"/>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6"/>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Slide </a:t>
            </a:r>
            <a:fld id="{619F89D8-7AE3-494A-97F3-03D680869632}" type="slidenum">
              <a:rPr lang="en-US" smtClean="0"/>
              <a:pPr/>
              <a:t>‹#›</a:t>
            </a:fld>
            <a:endParaRPr lang="en-US" dirty="0"/>
          </a:p>
        </p:txBody>
      </p:sp>
      <p:sp>
        <p:nvSpPr>
          <p:cNvPr id="13" name="Rectangle 12"/>
          <p:cNvSpPr/>
          <p:nvPr/>
        </p:nvSpPr>
        <p:spPr bwMode="gray">
          <a:xfrm>
            <a:off x="242214" y="447781"/>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1800" b="1" dirty="0">
                <a:solidFill>
                  <a:srgbClr val="FF0000"/>
                </a:solidFill>
              </a:rPr>
              <a:t>—</a:t>
            </a:r>
            <a:endParaRPr lang="en-US" sz="1800" b="1" dirty="0" err="1">
              <a:solidFill>
                <a:srgbClr val="FF0000"/>
              </a:solidFill>
            </a:endParaRPr>
          </a:p>
        </p:txBody>
      </p:sp>
    </p:spTree>
    <p:extLst>
      <p:ext uri="{BB962C8B-B14F-4D97-AF65-F5344CB8AC3E}">
        <p14:creationId xmlns:p14="http://schemas.microsoft.com/office/powerpoint/2010/main" val="351737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4"/>
          </p:nvPr>
        </p:nvSpPr>
        <p:spPr bwMode="gray"/>
        <p:txBody>
          <a:bodyPr/>
          <a:lstStyle/>
          <a:p>
            <a:fld id="{A1F808C0-290B-4263-8A52-B569B4875133}" type="datetime4">
              <a:rPr lang="en-US" smtClean="0"/>
              <a:t>June 17, 2021</a:t>
            </a:fld>
            <a:endParaRPr lang="en-US" dirty="0"/>
          </a:p>
        </p:txBody>
      </p:sp>
      <p:sp>
        <p:nvSpPr>
          <p:cNvPr id="5" name="Footer Placeholder 4"/>
          <p:cNvSpPr>
            <a:spLocks noGrp="1"/>
          </p:cNvSpPr>
          <p:nvPr>
            <p:ph type="ftr" sz="quarter" idx="15"/>
          </p:nvPr>
        </p:nvSpPr>
        <p:spPr bwMode="gray"/>
        <p:txBody>
          <a:bodyPr/>
          <a:lstStyle/>
          <a:p>
            <a:pPr lvl="8"/>
            <a:endParaRPr lang="en-US" dirty="0"/>
          </a:p>
        </p:txBody>
      </p:sp>
      <p:sp>
        <p:nvSpPr>
          <p:cNvPr id="6" name="Slide Number Placeholder 5"/>
          <p:cNvSpPr>
            <a:spLocks noGrp="1"/>
          </p:cNvSpPr>
          <p:nvPr>
            <p:ph type="sldNum" sz="quarter" idx="16"/>
          </p:nvPr>
        </p:nvSpPr>
        <p:spPr bwMode="gray"/>
        <p:txBody>
          <a:bodyPr/>
          <a:lstStyle/>
          <a:p>
            <a:r>
              <a:rPr lang="en-US" dirty="0"/>
              <a:t>Slide </a:t>
            </a:r>
            <a:fld id="{619F89D8-7AE3-494A-97F3-03D680869632}" type="slidenum">
              <a:rPr lang="en-US" smtClean="0"/>
              <a:pPr/>
              <a:t>‹#›</a:t>
            </a:fld>
            <a:endParaRPr lang="en-US" dirty="0"/>
          </a:p>
        </p:txBody>
      </p:sp>
      <p:sp>
        <p:nvSpPr>
          <p:cNvPr id="18"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836464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54: Final Slid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4" name="Date Placeholder 3"/>
          <p:cNvSpPr>
            <a:spLocks noGrp="1"/>
          </p:cNvSpPr>
          <p:nvPr>
            <p:ph type="dt" sz="half"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70479A72-920A-415B-8469-E7772A79C549}" type="datetime4">
              <a:rPr lang="en-US" smtClean="0"/>
              <a:t>June 17, 2021</a:t>
            </a:fld>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Slide </a:t>
            </a:r>
            <a:fld id="{619F89D8-7AE3-494A-97F3-03D680869632}" type="slidenum">
              <a:rPr lang="en-US" smtClean="0"/>
              <a:pPr/>
              <a:t>‹#›</a:t>
            </a:fld>
            <a:endParaRPr lang="en-US" dirty="0"/>
          </a:p>
        </p:txBody>
      </p:sp>
      <p:pic>
        <p:nvPicPr>
          <p:cNvPr id="7" name="Picture 19"/>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447616" y="2793573"/>
            <a:ext cx="3296776" cy="1264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479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5: Divider">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gray">
          <a:xfrm>
            <a:off x="1" y="0"/>
            <a:ext cx="12198845" cy="6858000"/>
          </a:xfrm>
          <a:prstGeom prst="rect">
            <a:avLst/>
          </a:prstGeom>
        </p:spPr>
      </p:pic>
      <p:sp>
        <p:nvSpPr>
          <p:cNvPr id="10" name="Rectangle 9">
            <a:extLst>
              <a:ext uri="{FF2B5EF4-FFF2-40B4-BE49-F238E27FC236}">
                <a16:creationId xmlns:a16="http://schemas.microsoft.com/office/drawing/2014/main" id="{F54DE7E8-58C9-4B5A-B686-53E1B76B68C9}"/>
              </a:ext>
            </a:extLst>
          </p:cNvPr>
          <p:cNvSpPr/>
          <p:nvPr/>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1"/>
                </a:solidFill>
              </a:rPr>
              <a:t>—</a:t>
            </a:r>
            <a:endParaRPr lang="en-US" sz="3200" b="1" dirty="0" err="1">
              <a:solidFill>
                <a:schemeClr val="bg1"/>
              </a:solidFill>
            </a:endParaRPr>
          </a:p>
        </p:txBody>
      </p:sp>
      <p:sp>
        <p:nvSpPr>
          <p:cNvPr id="9" name="Title 1">
            <a:extLst>
              <a:ext uri="{FF2B5EF4-FFF2-40B4-BE49-F238E27FC236}">
                <a16:creationId xmlns:a16="http://schemas.microsoft.com/office/drawing/2014/main" id="{26BA06A1-F808-4CBA-9D28-8D357F795D4C}"/>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F7CD425E-9028-4049-A9A0-DC6F9DF08061}"/>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83033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6: Divider 2">
    <p:spTree>
      <p:nvGrpSpPr>
        <p:cNvPr id="1" name=""/>
        <p:cNvGrpSpPr/>
        <p:nvPr/>
      </p:nvGrpSpPr>
      <p:grpSpPr>
        <a:xfrm>
          <a:off x="0" y="0"/>
          <a:ext cx="0" cy="0"/>
          <a:chOff x="0" y="0"/>
          <a:chExt cx="0" cy="0"/>
        </a:xfrm>
      </p:grpSpPr>
      <p:sp>
        <p:nvSpPr>
          <p:cNvPr id="9" name="Rectangle 8"/>
          <p:cNvSpPr/>
          <p:nvPr/>
        </p:nvSpPr>
        <p:spPr bwMode="gray">
          <a:xfrm>
            <a:off x="2" y="0"/>
            <a:ext cx="12192000" cy="6858000"/>
          </a:xfrm>
          <a:prstGeom prst="rect">
            <a:avLst/>
          </a:prstGeom>
          <a:solidFill>
            <a:srgbClr val="FF000F"/>
          </a:solidFill>
          <a:ln w="25400" cap="flat" cmpd="sng" algn="ctr">
            <a:noFill/>
            <a:prstDash val="solid"/>
          </a:ln>
          <a:effectLst/>
        </p:spPr>
        <p:txBody>
          <a:bodyPr lIns="72009" tIns="72009" rIns="72009" bIns="72009" rtlCol="0" anchor="ctr"/>
          <a:lstStyle/>
          <a:p>
            <a:pPr marL="0" marR="0" lvl="0" indent="0" algn="ctr" defTabSz="91449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sp>
        <p:nvSpPr>
          <p:cNvPr id="11" name="Rectangle 10">
            <a:extLst>
              <a:ext uri="{FF2B5EF4-FFF2-40B4-BE49-F238E27FC236}">
                <a16:creationId xmlns:a16="http://schemas.microsoft.com/office/drawing/2014/main" id="{94A90620-6E53-42BB-807B-70CAD0710CDD}"/>
              </a:ext>
            </a:extLst>
          </p:cNvPr>
          <p:cNvSpPr/>
          <p:nvPr/>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1"/>
                </a:solidFill>
              </a:rPr>
              <a:t>—</a:t>
            </a:r>
            <a:endParaRPr lang="en-US" sz="3200" b="1" dirty="0" err="1">
              <a:solidFill>
                <a:schemeClr val="bg1"/>
              </a:solidFill>
            </a:endParaRPr>
          </a:p>
        </p:txBody>
      </p:sp>
      <p:sp>
        <p:nvSpPr>
          <p:cNvPr id="8" name="Title 1">
            <a:extLst>
              <a:ext uri="{FF2B5EF4-FFF2-40B4-BE49-F238E27FC236}">
                <a16:creationId xmlns:a16="http://schemas.microsoft.com/office/drawing/2014/main" id="{6B34BC21-AFED-46B1-8268-92A7B5BBDEE1}"/>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endParaRPr lang="en-US" dirty="0"/>
          </a:p>
        </p:txBody>
      </p:sp>
      <p:sp>
        <p:nvSpPr>
          <p:cNvPr id="10" name="Subtitle 2">
            <a:extLst>
              <a:ext uri="{FF2B5EF4-FFF2-40B4-BE49-F238E27FC236}">
                <a16:creationId xmlns:a16="http://schemas.microsoft.com/office/drawing/2014/main" id="{0C1FE702-2A26-4886-8C77-E6510DB1849C}"/>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701291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7: Divider 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6884551-BCA1-4427-92BF-DB5CAA0DDF08}"/>
              </a:ext>
            </a:extLst>
          </p:cNvPr>
          <p:cNvSpPr/>
          <p:nvPr/>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sp>
        <p:nvSpPr>
          <p:cNvPr id="5" name="Title 1">
            <a:extLst>
              <a:ext uri="{FF2B5EF4-FFF2-40B4-BE49-F238E27FC236}">
                <a16:creationId xmlns:a16="http://schemas.microsoft.com/office/drawing/2014/main" id="{FAC380CA-95DB-45F2-99D5-3A1E2DF54CD3}"/>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tx1"/>
                </a:solidFill>
              </a:defRPr>
            </a:lvl1pPr>
          </a:lstStyle>
          <a:p>
            <a:r>
              <a:rPr lang="en-US"/>
              <a:t>Click to edit Master title style</a:t>
            </a:r>
            <a:endParaRPr lang="en-US" dirty="0"/>
          </a:p>
        </p:txBody>
      </p:sp>
      <p:sp>
        <p:nvSpPr>
          <p:cNvPr id="6" name="Subtitle 2">
            <a:extLst>
              <a:ext uri="{FF2B5EF4-FFF2-40B4-BE49-F238E27FC236}">
                <a16:creationId xmlns:a16="http://schemas.microsoft.com/office/drawing/2014/main" id="{EE182003-2699-4135-A685-461A4D33947D}"/>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87046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8: Agenda">
    <p:spTree>
      <p:nvGrpSpPr>
        <p:cNvPr id="1" name=""/>
        <p:cNvGrpSpPr/>
        <p:nvPr/>
      </p:nvGrpSpPr>
      <p:grpSpPr>
        <a:xfrm>
          <a:off x="0" y="0"/>
          <a:ext cx="0" cy="0"/>
          <a:chOff x="0" y="0"/>
          <a:chExt cx="0" cy="0"/>
        </a:xfrm>
      </p:grpSpPr>
      <p:sp>
        <p:nvSpPr>
          <p:cNvPr id="4" name="Content Placeholder 3"/>
          <p:cNvSpPr>
            <a:spLocks noGrp="1"/>
          </p:cNvSpPr>
          <p:nvPr>
            <p:ph sz="quarter" idx="17"/>
          </p:nvPr>
        </p:nvSpPr>
        <p:spPr bwMode="gray">
          <a:xfrm>
            <a:off x="332367" y="1931197"/>
            <a:ext cx="11520897" cy="3980439"/>
          </a:xfrm>
        </p:spPr>
        <p:txBody>
          <a:bodyPr/>
          <a:lstStyle>
            <a:lvl1pPr>
              <a:spcBef>
                <a:spcPts val="900"/>
              </a:spcBef>
              <a:defRPr sz="2000"/>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8"/>
          </p:nvPr>
        </p:nvSpPr>
        <p:spPr bwMode="gray"/>
        <p:txBody>
          <a:bodyPr/>
          <a:lstStyle/>
          <a:p>
            <a:fld id="{F7AFF65D-AAB4-46ED-A858-A6BA48891152}" type="datetime4">
              <a:rPr lang="en-US" smtClean="0"/>
              <a:t>June 17, 2021</a:t>
            </a:fld>
            <a:endParaRPr lang="en-US" dirty="0"/>
          </a:p>
        </p:txBody>
      </p:sp>
      <p:sp>
        <p:nvSpPr>
          <p:cNvPr id="5" name="Footer Placeholder 4"/>
          <p:cNvSpPr>
            <a:spLocks noGrp="1"/>
          </p:cNvSpPr>
          <p:nvPr>
            <p:ph type="ftr" sz="quarter" idx="19"/>
          </p:nvPr>
        </p:nvSpPr>
        <p:spPr bwMode="gray"/>
        <p:txBody>
          <a:bodyPr/>
          <a:lstStyle/>
          <a:p>
            <a:pPr lvl="8"/>
            <a:endParaRPr lang="en-US" dirty="0"/>
          </a:p>
        </p:txBody>
      </p:sp>
      <p:sp>
        <p:nvSpPr>
          <p:cNvPr id="6" name="Slide Number Placeholder 5"/>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7" name="Title 6"/>
          <p:cNvSpPr>
            <a:spLocks noGrp="1"/>
          </p:cNvSpPr>
          <p:nvPr>
            <p:ph type="title"/>
          </p:nvPr>
        </p:nvSpPr>
        <p:spPr bwMode="gray"/>
        <p:txBody>
          <a:bodyPr/>
          <a:lstStyle/>
          <a:p>
            <a:r>
              <a:rPr lang="en-US"/>
              <a:t>Click to edit Master title style</a:t>
            </a:r>
            <a:endParaRPr lang="en-US" dirty="0"/>
          </a:p>
        </p:txBody>
      </p:sp>
    </p:spTree>
    <p:extLst>
      <p:ext uri="{BB962C8B-B14F-4D97-AF65-F5344CB8AC3E}">
        <p14:creationId xmlns:p14="http://schemas.microsoft.com/office/powerpoint/2010/main" val="398477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33264" y="682313"/>
            <a:ext cx="11520000" cy="396000"/>
          </a:xfrm>
          <a:prstGeom prst="rect">
            <a:avLst/>
          </a:prstGeom>
        </p:spPr>
        <p:txBody>
          <a:bodyPr vert="horz" lIns="0" tIns="0" rIns="0" bIns="0" rtlCol="0" anchor="t">
            <a:noAutofit/>
          </a:bodyPr>
          <a:lstStyle/>
          <a:p>
            <a:r>
              <a:rPr lang="en-US"/>
              <a:t>Click to edit Master title style</a:t>
            </a:r>
            <a:endParaRPr lang="en-US" dirty="0"/>
          </a:p>
        </p:txBody>
      </p:sp>
      <p:sp>
        <p:nvSpPr>
          <p:cNvPr id="5" name="Footer Placeholder 4"/>
          <p:cNvSpPr>
            <a:spLocks noGrp="1"/>
          </p:cNvSpPr>
          <p:nvPr>
            <p:ph type="ftr" sz="quarter" idx="3"/>
          </p:nvPr>
        </p:nvSpPr>
        <p:spPr bwMode="gray">
          <a:xfrm>
            <a:off x="2499782" y="6298397"/>
            <a:ext cx="8490250" cy="500072"/>
          </a:xfrm>
          <a:prstGeom prst="rect">
            <a:avLst/>
          </a:prstGeom>
          <a:noFill/>
        </p:spPr>
        <p:txBody>
          <a:bodyPr vert="horz" lIns="0" tIns="0" rIns="0" bIns="0" rtlCol="0" anchor="ctr">
            <a:noAutofit/>
          </a:bodyPr>
          <a:lstStyle>
            <a:lvl1pPr algn="l" rtl="0">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endParaRPr lang="de-DE" dirty="0"/>
          </a:p>
        </p:txBody>
      </p:sp>
      <p:sp>
        <p:nvSpPr>
          <p:cNvPr id="4" name="Date Placeholder 3"/>
          <p:cNvSpPr>
            <a:spLocks noGrp="1"/>
          </p:cNvSpPr>
          <p:nvPr>
            <p:ph type="dt" sz="half" idx="2"/>
          </p:nvPr>
        </p:nvSpPr>
        <p:spPr bwMode="gray">
          <a:xfrm>
            <a:off x="332367" y="6489341"/>
            <a:ext cx="1162951" cy="118192"/>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fld id="{B2016A11-4950-4F3F-938B-45DEE5F72969}" type="datetime4">
              <a:rPr lang="en-US" smtClean="0"/>
              <a:pPr/>
              <a:t>June 17, 2021</a:t>
            </a:fld>
            <a:endParaRPr lang="en-US" dirty="0"/>
          </a:p>
        </p:txBody>
      </p:sp>
      <p:sp>
        <p:nvSpPr>
          <p:cNvPr id="3" name="Text Placeholder 2"/>
          <p:cNvSpPr>
            <a:spLocks noGrp="1"/>
          </p:cNvSpPr>
          <p:nvPr>
            <p:ph type="body" idx="1"/>
          </p:nvPr>
        </p:nvSpPr>
        <p:spPr bwMode="gray">
          <a:xfrm>
            <a:off x="333264" y="1931194"/>
            <a:ext cx="11520000" cy="398217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bwMode="gray">
          <a:xfrm>
            <a:off x="1798114" y="6488733"/>
            <a:ext cx="676888" cy="118800"/>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r>
              <a:rPr lang="en-US" dirty="0"/>
              <a:t>Slide </a:t>
            </a:r>
            <a:fld id="{619F89D8-7AE3-494A-97F3-03D680869632}" type="slidenum">
              <a:rPr lang="en-US" smtClean="0"/>
              <a:pPr/>
              <a:t>‹#›</a:t>
            </a:fld>
            <a:endParaRPr lang="en-US" dirty="0"/>
          </a:p>
        </p:txBody>
      </p:sp>
      <p:cxnSp>
        <p:nvCxnSpPr>
          <p:cNvPr id="35" name="Straight Connector 34"/>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grpSp>
        <p:nvGrpSpPr>
          <p:cNvPr id="68" name="Group 67"/>
          <p:cNvGrpSpPr/>
          <p:nvPr/>
        </p:nvGrpSpPr>
        <p:grpSpPr bwMode="gray">
          <a:xfrm>
            <a:off x="334271" y="6327549"/>
            <a:ext cx="337946" cy="88364"/>
            <a:chOff x="61913" y="5218113"/>
            <a:chExt cx="3138487" cy="820737"/>
          </a:xfrm>
          <a:solidFill>
            <a:schemeClr val="accent3"/>
          </a:solidFill>
        </p:grpSpPr>
        <p:sp>
          <p:nvSpPr>
            <p:cNvPr id="6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cxnSp>
        <p:nvCxnSpPr>
          <p:cNvPr id="73" name="Straight Connector 72"/>
          <p:cNvCxnSpPr/>
          <p:nvPr/>
        </p:nvCxnSpPr>
        <p:spPr bwMode="gray">
          <a:xfrm>
            <a:off x="1692854" y="6472543"/>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7" name="Rectangle 6"/>
          <p:cNvSpPr/>
          <p:nvPr/>
        </p:nvSpPr>
        <p:spPr bwMode="gray">
          <a:xfrm>
            <a:off x="242214" y="426352"/>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dirty="0">
                <a:solidFill>
                  <a:schemeClr val="bg2"/>
                </a:solidFill>
              </a:rPr>
              <a:t>—</a:t>
            </a:r>
            <a:endParaRPr lang="en-US" sz="2400" b="1" dirty="0" err="1">
              <a:solidFill>
                <a:schemeClr val="bg2"/>
              </a:solidFill>
            </a:endParaRPr>
          </a:p>
        </p:txBody>
      </p:sp>
      <p:pic>
        <p:nvPicPr>
          <p:cNvPr id="16" name="Picture 19"/>
          <p:cNvPicPr>
            <a:picLocks noChangeAspect="1" noChangeArrowheads="1"/>
          </p:cNvPicPr>
          <p:nvPr/>
        </p:nvPicPr>
        <p:blipFill>
          <a:blip r:embed="rId57" cstate="screen">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2401632"/>
      </p:ext>
    </p:extLst>
  </p:cSld>
  <p:clrMap bg1="lt1" tx1="dk1" bg2="lt2" tx2="dk2" accent1="accent1" accent2="accent2" accent3="accent3" accent4="accent4" accent5="accent5" accent6="accent6" hlink="hlink" folHlink="folHlink"/>
  <p:sldLayoutIdLst>
    <p:sldLayoutId id="2147483654" r:id="rId1"/>
    <p:sldLayoutId id="2147483690" r:id="rId2"/>
    <p:sldLayoutId id="2147483706" r:id="rId3"/>
    <p:sldLayoutId id="2147483707" r:id="rId4"/>
    <p:sldLayoutId id="2147483655" r:id="rId5"/>
    <p:sldLayoutId id="2147483656" r:id="rId6"/>
    <p:sldLayoutId id="2147483657" r:id="rId7"/>
    <p:sldLayoutId id="2147483658" r:id="rId8"/>
    <p:sldLayoutId id="2147483653" r:id="rId9"/>
    <p:sldLayoutId id="2147483650" r:id="rId10"/>
    <p:sldLayoutId id="2147483691" r:id="rId11"/>
    <p:sldLayoutId id="2147483661" r:id="rId12"/>
    <p:sldLayoutId id="2147483696" r:id="rId13"/>
    <p:sldLayoutId id="2147483663" r:id="rId14"/>
    <p:sldLayoutId id="2147483662" r:id="rId15"/>
    <p:sldLayoutId id="2147483664" r:id="rId16"/>
    <p:sldLayoutId id="2147483692" r:id="rId17"/>
    <p:sldLayoutId id="2147483693" r:id="rId18"/>
    <p:sldLayoutId id="2147483665" r:id="rId19"/>
    <p:sldLayoutId id="2147483667" r:id="rId20"/>
    <p:sldLayoutId id="2147483668" r:id="rId21"/>
    <p:sldLayoutId id="2147483669" r:id="rId22"/>
    <p:sldLayoutId id="2147483670" r:id="rId23"/>
    <p:sldLayoutId id="2147483700" r:id="rId24"/>
    <p:sldLayoutId id="2147483659" r:id="rId25"/>
    <p:sldLayoutId id="2147483660" r:id="rId26"/>
    <p:sldLayoutId id="2147483694" r:id="rId27"/>
    <p:sldLayoutId id="2147483677" r:id="rId28"/>
    <p:sldLayoutId id="2147483679" r:id="rId29"/>
    <p:sldLayoutId id="2147483680" r:id="rId30"/>
    <p:sldLayoutId id="2147483666" r:id="rId31"/>
    <p:sldLayoutId id="2147483672" r:id="rId32"/>
    <p:sldLayoutId id="2147483673" r:id="rId33"/>
    <p:sldLayoutId id="2147483674" r:id="rId34"/>
    <p:sldLayoutId id="2147483675" r:id="rId35"/>
    <p:sldLayoutId id="2147483676" r:id="rId36"/>
    <p:sldLayoutId id="2147483701" r:id="rId37"/>
    <p:sldLayoutId id="2147483681" r:id="rId38"/>
    <p:sldLayoutId id="2147483682" r:id="rId39"/>
    <p:sldLayoutId id="2147483702" r:id="rId40"/>
    <p:sldLayoutId id="2147483703" r:id="rId41"/>
    <p:sldLayoutId id="2147483699" r:id="rId42"/>
    <p:sldLayoutId id="2147483695" r:id="rId43"/>
    <p:sldLayoutId id="2147483683" r:id="rId44"/>
    <p:sldLayoutId id="2147483684" r:id="rId45"/>
    <p:sldLayoutId id="2147483698" r:id="rId46"/>
    <p:sldLayoutId id="2147483697" r:id="rId47"/>
    <p:sldLayoutId id="2147483685" r:id="rId48"/>
    <p:sldLayoutId id="2147483686" r:id="rId49"/>
    <p:sldLayoutId id="2147483687" r:id="rId50"/>
    <p:sldLayoutId id="2147483688" r:id="rId51"/>
    <p:sldLayoutId id="2147483689" r:id="rId52"/>
    <p:sldLayoutId id="2147483705" r:id="rId53"/>
    <p:sldLayoutId id="2147483651" r:id="rId54"/>
    <p:sldLayoutId id="2147483652" r:id="rId5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91"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91" rtl="0" eaLnBrk="1" latinLnBrk="0" hangingPunct="1">
        <a:defRPr sz="1800" kern="1200">
          <a:solidFill>
            <a:schemeClr val="tx1"/>
          </a:solidFill>
          <a:latin typeface="+mn-lt"/>
          <a:ea typeface="+mn-ea"/>
          <a:cs typeface="+mn-cs"/>
        </a:defRPr>
      </a:lvl1pPr>
      <a:lvl2pPr marL="457246" algn="l" defTabSz="914491" rtl="0" eaLnBrk="1" latinLnBrk="0" hangingPunct="1">
        <a:defRPr sz="1800" kern="1200">
          <a:solidFill>
            <a:schemeClr val="tx1"/>
          </a:solidFill>
          <a:latin typeface="+mn-lt"/>
          <a:ea typeface="+mn-ea"/>
          <a:cs typeface="+mn-cs"/>
        </a:defRPr>
      </a:lvl2pPr>
      <a:lvl3pPr marL="914491" algn="l" defTabSz="914491" rtl="0" eaLnBrk="1" latinLnBrk="0" hangingPunct="1">
        <a:defRPr sz="1800" kern="1200">
          <a:solidFill>
            <a:schemeClr val="tx1"/>
          </a:solidFill>
          <a:latin typeface="+mn-lt"/>
          <a:ea typeface="+mn-ea"/>
          <a:cs typeface="+mn-cs"/>
        </a:defRPr>
      </a:lvl3pPr>
      <a:lvl4pPr marL="1371737" algn="l" defTabSz="914491" rtl="0" eaLnBrk="1" latinLnBrk="0" hangingPunct="1">
        <a:defRPr sz="1800" kern="1200">
          <a:solidFill>
            <a:schemeClr val="tx1"/>
          </a:solidFill>
          <a:latin typeface="+mn-lt"/>
          <a:ea typeface="+mn-ea"/>
          <a:cs typeface="+mn-cs"/>
        </a:defRPr>
      </a:lvl4pPr>
      <a:lvl5pPr marL="1828983" algn="l" defTabSz="914491" rtl="0" eaLnBrk="1" latinLnBrk="0" hangingPunct="1">
        <a:defRPr sz="1800" kern="1200">
          <a:solidFill>
            <a:schemeClr val="tx1"/>
          </a:solidFill>
          <a:latin typeface="+mn-lt"/>
          <a:ea typeface="+mn-ea"/>
          <a:cs typeface="+mn-cs"/>
        </a:defRPr>
      </a:lvl5pPr>
      <a:lvl6pPr marL="2286229" algn="l" defTabSz="914491" rtl="0" eaLnBrk="1" latinLnBrk="0" hangingPunct="1">
        <a:defRPr sz="1800" kern="1200">
          <a:solidFill>
            <a:schemeClr val="tx1"/>
          </a:solidFill>
          <a:latin typeface="+mn-lt"/>
          <a:ea typeface="+mn-ea"/>
          <a:cs typeface="+mn-cs"/>
        </a:defRPr>
      </a:lvl6pPr>
      <a:lvl7pPr marL="2743474" algn="l" defTabSz="914491" rtl="0" eaLnBrk="1" latinLnBrk="0" hangingPunct="1">
        <a:defRPr sz="1800" kern="1200">
          <a:solidFill>
            <a:schemeClr val="tx1"/>
          </a:solidFill>
          <a:latin typeface="+mn-lt"/>
          <a:ea typeface="+mn-ea"/>
          <a:cs typeface="+mn-cs"/>
        </a:defRPr>
      </a:lvl7pPr>
      <a:lvl8pPr marL="3200720" algn="l" defTabSz="914491" rtl="0" eaLnBrk="1" latinLnBrk="0" hangingPunct="1">
        <a:defRPr sz="1800" kern="1200">
          <a:solidFill>
            <a:schemeClr val="tx1"/>
          </a:solidFill>
          <a:latin typeface="+mn-lt"/>
          <a:ea typeface="+mn-ea"/>
          <a:cs typeface="+mn-cs"/>
        </a:defRPr>
      </a:lvl8pPr>
      <a:lvl9pPr marL="3657966" algn="l" defTabSz="9144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8">
          <p15:clr>
            <a:srgbClr val="F26B43"/>
          </p15:clr>
        </p15:guide>
        <p15:guide id="2" pos="7469">
          <p15:clr>
            <a:srgbClr val="F26B43"/>
          </p15:clr>
        </p15:guide>
        <p15:guide id="3" pos="212">
          <p15:clr>
            <a:srgbClr val="F26B43"/>
          </p15:clr>
        </p15:guide>
        <p15:guide id="4" orient="horz" pos="3726">
          <p15:clr>
            <a:srgbClr val="F26B43"/>
          </p15:clr>
        </p15:guide>
        <p15:guide id="5" pos="3840">
          <p15:clr>
            <a:srgbClr val="F26B43"/>
          </p15:clr>
        </p15:guide>
        <p15:guide id="6" orient="horz" pos="24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31.xml"/><Relationship Id="rId5" Type="http://schemas.openxmlformats.org/officeDocument/2006/relationships/image" Target="../media/image43.jpeg"/><Relationship Id="rId4" Type="http://schemas.openxmlformats.org/officeDocument/2006/relationships/image" Target="../media/image42.png"/></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37.jpeg"/><Relationship Id="rId2" Type="http://schemas.openxmlformats.org/officeDocument/2006/relationships/notesSlide" Target="../notesSlides/notesSlide11.xml"/><Relationship Id="rId1" Type="http://schemas.openxmlformats.org/officeDocument/2006/relationships/slideLayout" Target="../slideLayouts/slideLayout27.xml"/><Relationship Id="rId6" Type="http://schemas.microsoft.com/office/2007/relationships/hdphoto" Target="../media/hdphoto3.wdp"/><Relationship Id="rId5" Type="http://schemas.openxmlformats.org/officeDocument/2006/relationships/image" Target="../media/image45.pn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2.xml"/><Relationship Id="rId1" Type="http://schemas.openxmlformats.org/officeDocument/2006/relationships/slideLayout" Target="../slideLayouts/slideLayout31.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33.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image" Target="../media/image50.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49.jpeg"/><Relationship Id="rId5" Type="http://schemas.openxmlformats.org/officeDocument/2006/relationships/image" Target="../media/image48.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9" Type="http://schemas.openxmlformats.org/officeDocument/2006/relationships/tags" Target="../tags/tag47.xml"/><Relationship Id="rId21" Type="http://schemas.openxmlformats.org/officeDocument/2006/relationships/tags" Target="../tags/tag29.xml"/><Relationship Id="rId34" Type="http://schemas.openxmlformats.org/officeDocument/2006/relationships/tags" Target="../tags/tag42.xml"/><Relationship Id="rId42" Type="http://schemas.openxmlformats.org/officeDocument/2006/relationships/tags" Target="../tags/tag50.xml"/><Relationship Id="rId47" Type="http://schemas.openxmlformats.org/officeDocument/2006/relationships/notesSlide" Target="../notesSlides/notesSlide15.xml"/><Relationship Id="rId50" Type="http://schemas.openxmlformats.org/officeDocument/2006/relationships/image" Target="../media/image53.png"/><Relationship Id="rId55" Type="http://schemas.openxmlformats.org/officeDocument/2006/relationships/image" Target="../media/image58.png"/><Relationship Id="rId63" Type="http://schemas.openxmlformats.org/officeDocument/2006/relationships/image" Target="../media/image66.png"/><Relationship Id="rId68" Type="http://schemas.openxmlformats.org/officeDocument/2006/relationships/image" Target="../media/image71.png"/><Relationship Id="rId76" Type="http://schemas.openxmlformats.org/officeDocument/2006/relationships/image" Target="../media/image79.png"/><Relationship Id="rId7" Type="http://schemas.openxmlformats.org/officeDocument/2006/relationships/tags" Target="../tags/tag15.xml"/><Relationship Id="rId71" Type="http://schemas.openxmlformats.org/officeDocument/2006/relationships/image" Target="../media/image74.png"/><Relationship Id="rId2" Type="http://schemas.openxmlformats.org/officeDocument/2006/relationships/tags" Target="../tags/tag10.xml"/><Relationship Id="rId16" Type="http://schemas.openxmlformats.org/officeDocument/2006/relationships/tags" Target="../tags/tag24.xml"/><Relationship Id="rId29" Type="http://schemas.openxmlformats.org/officeDocument/2006/relationships/tags" Target="../tags/tag37.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tags" Target="../tags/tag45.xml"/><Relationship Id="rId40" Type="http://schemas.openxmlformats.org/officeDocument/2006/relationships/tags" Target="../tags/tag48.xml"/><Relationship Id="rId45" Type="http://schemas.openxmlformats.org/officeDocument/2006/relationships/tags" Target="../tags/tag53.xml"/><Relationship Id="rId53" Type="http://schemas.openxmlformats.org/officeDocument/2006/relationships/image" Target="../media/image56.png"/><Relationship Id="rId58" Type="http://schemas.openxmlformats.org/officeDocument/2006/relationships/image" Target="../media/image61.png"/><Relationship Id="rId66" Type="http://schemas.openxmlformats.org/officeDocument/2006/relationships/image" Target="../media/image69.png"/><Relationship Id="rId74" Type="http://schemas.openxmlformats.org/officeDocument/2006/relationships/image" Target="../media/image77.png"/><Relationship Id="rId79" Type="http://schemas.openxmlformats.org/officeDocument/2006/relationships/image" Target="../media/image82.png"/><Relationship Id="rId5" Type="http://schemas.openxmlformats.org/officeDocument/2006/relationships/tags" Target="../tags/tag13.xml"/><Relationship Id="rId61" Type="http://schemas.openxmlformats.org/officeDocument/2006/relationships/image" Target="../media/image64.png"/><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tags" Target="../tags/tag39.xml"/><Relationship Id="rId44" Type="http://schemas.openxmlformats.org/officeDocument/2006/relationships/tags" Target="../tags/tag52.xml"/><Relationship Id="rId52" Type="http://schemas.openxmlformats.org/officeDocument/2006/relationships/image" Target="../media/image55.png"/><Relationship Id="rId60" Type="http://schemas.openxmlformats.org/officeDocument/2006/relationships/image" Target="../media/image63.png"/><Relationship Id="rId65" Type="http://schemas.openxmlformats.org/officeDocument/2006/relationships/image" Target="../media/image68.png"/><Relationship Id="rId73" Type="http://schemas.openxmlformats.org/officeDocument/2006/relationships/image" Target="../media/image76.png"/><Relationship Id="rId78" Type="http://schemas.openxmlformats.org/officeDocument/2006/relationships/image" Target="../media/image81.png"/><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 Id="rId43" Type="http://schemas.openxmlformats.org/officeDocument/2006/relationships/tags" Target="../tags/tag51.xml"/><Relationship Id="rId48" Type="http://schemas.openxmlformats.org/officeDocument/2006/relationships/image" Target="../media/image51.png"/><Relationship Id="rId56" Type="http://schemas.openxmlformats.org/officeDocument/2006/relationships/image" Target="../media/image59.png"/><Relationship Id="rId64" Type="http://schemas.openxmlformats.org/officeDocument/2006/relationships/image" Target="../media/image67.png"/><Relationship Id="rId69" Type="http://schemas.openxmlformats.org/officeDocument/2006/relationships/image" Target="../media/image72.png"/><Relationship Id="rId77" Type="http://schemas.openxmlformats.org/officeDocument/2006/relationships/image" Target="../media/image80.png"/><Relationship Id="rId8" Type="http://schemas.openxmlformats.org/officeDocument/2006/relationships/tags" Target="../tags/tag16.xml"/><Relationship Id="rId51" Type="http://schemas.openxmlformats.org/officeDocument/2006/relationships/image" Target="../media/image54.png"/><Relationship Id="rId72" Type="http://schemas.openxmlformats.org/officeDocument/2006/relationships/image" Target="../media/image75.png"/><Relationship Id="rId3" Type="http://schemas.openxmlformats.org/officeDocument/2006/relationships/tags" Target="../tags/tag11.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tags" Target="../tags/tag46.xml"/><Relationship Id="rId46" Type="http://schemas.openxmlformats.org/officeDocument/2006/relationships/slideLayout" Target="../slideLayouts/slideLayout28.xml"/><Relationship Id="rId59" Type="http://schemas.openxmlformats.org/officeDocument/2006/relationships/image" Target="../media/image62.png"/><Relationship Id="rId67" Type="http://schemas.openxmlformats.org/officeDocument/2006/relationships/image" Target="../media/image70.png"/><Relationship Id="rId20" Type="http://schemas.openxmlformats.org/officeDocument/2006/relationships/tags" Target="../tags/tag28.xml"/><Relationship Id="rId41" Type="http://schemas.openxmlformats.org/officeDocument/2006/relationships/tags" Target="../tags/tag49.xml"/><Relationship Id="rId54" Type="http://schemas.openxmlformats.org/officeDocument/2006/relationships/image" Target="../media/image57.png"/><Relationship Id="rId62" Type="http://schemas.openxmlformats.org/officeDocument/2006/relationships/image" Target="../media/image65.png"/><Relationship Id="rId70" Type="http://schemas.openxmlformats.org/officeDocument/2006/relationships/image" Target="../media/image73.png"/><Relationship Id="rId75" Type="http://schemas.openxmlformats.org/officeDocument/2006/relationships/image" Target="../media/image78.png"/><Relationship Id="rId1" Type="http://schemas.openxmlformats.org/officeDocument/2006/relationships/tags" Target="../tags/tag9.xml"/><Relationship Id="rId6" Type="http://schemas.openxmlformats.org/officeDocument/2006/relationships/tags" Target="../tags/tag14.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tags" Target="../tags/tag44.xml"/><Relationship Id="rId49" Type="http://schemas.openxmlformats.org/officeDocument/2006/relationships/image" Target="../media/image52.png"/><Relationship Id="rId57" Type="http://schemas.openxmlformats.org/officeDocument/2006/relationships/image" Target="../media/image60.png"/></Relationships>
</file>

<file path=ppt/slides/_rels/slide1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85.emf"/></Relationships>
</file>

<file path=ppt/slides/_rels/slide1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3" Type="http://schemas.openxmlformats.org/officeDocument/2006/relationships/image" Target="../media/image88.png"/><Relationship Id="rId7" Type="http://schemas.openxmlformats.org/officeDocument/2006/relationships/image" Target="../media/image90.jpeg"/><Relationship Id="rId2" Type="http://schemas.openxmlformats.org/officeDocument/2006/relationships/image" Target="../media/image87.png"/><Relationship Id="rId1" Type="http://schemas.openxmlformats.org/officeDocument/2006/relationships/slideLayout" Target="../slideLayouts/slideLayout28.xml"/><Relationship Id="rId6" Type="http://schemas.openxmlformats.org/officeDocument/2006/relationships/image" Target="../media/image39.jpeg"/><Relationship Id="rId5" Type="http://schemas.openxmlformats.org/officeDocument/2006/relationships/image" Target="../media/image89.jpeg"/><Relationship Id="rId4" Type="http://schemas.microsoft.com/office/2007/relationships/hdphoto" Target="../media/hdphoto4.wdp"/></Relationships>
</file>

<file path=ppt/slides/_rels/slide2.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png"/><Relationship Id="rId18" Type="http://schemas.openxmlformats.org/officeDocument/2006/relationships/image" Target="../media/image20.png"/><Relationship Id="rId3" Type="http://schemas.openxmlformats.org/officeDocument/2006/relationships/tags" Target="../tags/tag2.xml"/><Relationship Id="rId21" Type="http://schemas.openxmlformats.org/officeDocument/2006/relationships/image" Target="../media/image23.jpeg"/><Relationship Id="rId7" Type="http://schemas.openxmlformats.org/officeDocument/2006/relationships/oleObject" Target="../embeddings/oleObject1.bin"/><Relationship Id="rId12" Type="http://schemas.openxmlformats.org/officeDocument/2006/relationships/image" Target="../media/image14.jpeg"/><Relationship Id="rId17" Type="http://schemas.openxmlformats.org/officeDocument/2006/relationships/image" Target="../media/image19.png"/><Relationship Id="rId2" Type="http://schemas.openxmlformats.org/officeDocument/2006/relationships/tags" Target="../tags/tag1.xml"/><Relationship Id="rId16" Type="http://schemas.openxmlformats.org/officeDocument/2006/relationships/image" Target="../media/image18.png"/><Relationship Id="rId20" Type="http://schemas.openxmlformats.org/officeDocument/2006/relationships/image" Target="../media/image22.png"/><Relationship Id="rId1" Type="http://schemas.openxmlformats.org/officeDocument/2006/relationships/vmlDrawing" Target="../drawings/vmlDrawing1.vml"/><Relationship Id="rId6" Type="http://schemas.openxmlformats.org/officeDocument/2006/relationships/notesSlide" Target="../notesSlides/notesSlide2.xml"/><Relationship Id="rId11" Type="http://schemas.openxmlformats.org/officeDocument/2006/relationships/image" Target="../media/image13.png"/><Relationship Id="rId5" Type="http://schemas.openxmlformats.org/officeDocument/2006/relationships/slideLayout" Target="../slideLayouts/slideLayout10.xml"/><Relationship Id="rId15" Type="http://schemas.openxmlformats.org/officeDocument/2006/relationships/image" Target="../media/image17.png"/><Relationship Id="rId23" Type="http://schemas.openxmlformats.org/officeDocument/2006/relationships/image" Target="../media/image25.png"/><Relationship Id="rId10" Type="http://schemas.openxmlformats.org/officeDocument/2006/relationships/image" Target="../media/image12.png"/><Relationship Id="rId19" Type="http://schemas.openxmlformats.org/officeDocument/2006/relationships/image" Target="../media/image21.png"/><Relationship Id="rId4" Type="http://schemas.openxmlformats.org/officeDocument/2006/relationships/tags" Target="../tags/tag3.xml"/><Relationship Id="rId9" Type="http://schemas.openxmlformats.org/officeDocument/2006/relationships/image" Target="../media/image11.png"/><Relationship Id="rId14" Type="http://schemas.openxmlformats.org/officeDocument/2006/relationships/image" Target="../media/image16.png"/><Relationship Id="rId22" Type="http://schemas.openxmlformats.org/officeDocument/2006/relationships/image" Target="../media/image24.png"/></Relationships>
</file>

<file path=ppt/slides/_rels/slide20.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19.xml"/><Relationship Id="rId1" Type="http://schemas.openxmlformats.org/officeDocument/2006/relationships/slideLayout" Target="../slideLayouts/slideLayout28.xml"/><Relationship Id="rId5" Type="http://schemas.openxmlformats.org/officeDocument/2006/relationships/image" Target="../media/image93.jpeg"/><Relationship Id="rId4" Type="http://schemas.openxmlformats.org/officeDocument/2006/relationships/image" Target="../media/image92.jpeg"/></Relationships>
</file>

<file path=ppt/slides/_rels/slide21.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1.xml"/><Relationship Id="rId1" Type="http://schemas.openxmlformats.org/officeDocument/2006/relationships/slideLayout" Target="../slideLayouts/slideLayout23.xml"/><Relationship Id="rId4" Type="http://schemas.openxmlformats.org/officeDocument/2006/relationships/image" Target="../media/image96.png"/></Relationships>
</file>

<file path=ppt/slides/_rels/slide23.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22.xml"/><Relationship Id="rId1" Type="http://schemas.openxmlformats.org/officeDocument/2006/relationships/slideLayout" Target="../slideLayouts/slideLayout23.xml"/><Relationship Id="rId4" Type="http://schemas.openxmlformats.org/officeDocument/2006/relationships/image" Target="../media/image98.jpeg"/></Relationships>
</file>

<file path=ppt/slides/_rels/slide24.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8.xml"/><Relationship Id="rId1" Type="http://schemas.openxmlformats.org/officeDocument/2006/relationships/themeOverride" Target="../theme/themeOverride1.xml"/><Relationship Id="rId5" Type="http://schemas.openxmlformats.org/officeDocument/2006/relationships/image" Target="../media/image101.png"/><Relationship Id="rId4" Type="http://schemas.openxmlformats.org/officeDocument/2006/relationships/image" Target="../media/image100.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8.xml"/><Relationship Id="rId1" Type="http://schemas.openxmlformats.org/officeDocument/2006/relationships/themeOverride" Target="../theme/themeOverride2.xml"/><Relationship Id="rId5" Type="http://schemas.openxmlformats.org/officeDocument/2006/relationships/image" Target="../media/image103.jpeg"/><Relationship Id="rId4" Type="http://schemas.openxmlformats.org/officeDocument/2006/relationships/image" Target="../media/image102.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8.xml"/><Relationship Id="rId1" Type="http://schemas.openxmlformats.org/officeDocument/2006/relationships/themeOverride" Target="../theme/themeOverride3.xml"/><Relationship Id="rId4" Type="http://schemas.openxmlformats.org/officeDocument/2006/relationships/image" Target="../media/image104.png"/></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28.xml"/></Relationships>
</file>

<file path=ppt/slides/_rels/slide2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8.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5.xml"/><Relationship Id="rId7" Type="http://schemas.openxmlformats.org/officeDocument/2006/relationships/image" Target="../media/image26.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30.png"/><Relationship Id="rId5" Type="http://schemas.openxmlformats.org/officeDocument/2006/relationships/notesSlide" Target="../notesSlides/notesSlide3.xml"/><Relationship Id="rId10" Type="http://schemas.openxmlformats.org/officeDocument/2006/relationships/image" Target="../media/image29.png"/><Relationship Id="rId4" Type="http://schemas.openxmlformats.org/officeDocument/2006/relationships/slideLayout" Target="../slideLayouts/slideLayout54.xml"/><Relationship Id="rId9" Type="http://schemas.openxmlformats.org/officeDocument/2006/relationships/image" Target="../media/image28.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0.xml"/><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32.png"/><Relationship Id="rId5" Type="http://schemas.microsoft.com/office/2007/relationships/hdphoto" Target="../media/hdphoto1.wdp"/><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notesSlide" Target="../notesSlides/notesSlide7.xml"/><Relationship Id="rId1" Type="http://schemas.openxmlformats.org/officeDocument/2006/relationships/slideLayout" Target="../slideLayouts/slideLayout31.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8.xml"/><Relationship Id="rId1" Type="http://schemas.openxmlformats.org/officeDocument/2006/relationships/slideLayout" Target="../slideLayouts/slideLayout31.xml"/><Relationship Id="rId4" Type="http://schemas.openxmlformats.org/officeDocument/2006/relationships/image" Target="../media/image39.jpe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28.xml"/><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85D0D072-02AF-45C4-AD45-6A07B4C998E5}"/>
              </a:ext>
            </a:extLst>
          </p:cNvPr>
          <p:cNvSpPr>
            <a:spLocks noGrp="1"/>
          </p:cNvSpPr>
          <p:nvPr>
            <p:ph type="body" sz="quarter" idx="16"/>
          </p:nvPr>
        </p:nvSpPr>
        <p:spPr/>
        <p:txBody>
          <a:bodyPr/>
          <a:lstStyle/>
          <a:p>
            <a:endParaRPr lang="en-US"/>
          </a:p>
        </p:txBody>
      </p:sp>
      <p:sp>
        <p:nvSpPr>
          <p:cNvPr id="10" name="Text Placeholder 9"/>
          <p:cNvSpPr>
            <a:spLocks noGrp="1"/>
          </p:cNvSpPr>
          <p:nvPr>
            <p:ph type="body" sz="quarter" idx="13"/>
          </p:nvPr>
        </p:nvSpPr>
        <p:spPr bwMode="gray"/>
        <p:txBody>
          <a:bodyPr/>
          <a:lstStyle/>
          <a:p>
            <a:r>
              <a:rPr lang="en-US" altLang="zh-CN" dirty="0"/>
              <a:t>LSt200 INTRODUCTION training, 2021</a:t>
            </a:r>
          </a:p>
        </p:txBody>
      </p:sp>
      <p:sp>
        <p:nvSpPr>
          <p:cNvPr id="11" name="Title 10"/>
          <p:cNvSpPr>
            <a:spLocks noGrp="1"/>
          </p:cNvSpPr>
          <p:nvPr>
            <p:ph type="ctrTitle"/>
          </p:nvPr>
        </p:nvSpPr>
        <p:spPr/>
        <p:txBody>
          <a:bodyPr/>
          <a:lstStyle/>
          <a:p>
            <a:r>
              <a:rPr lang="en-US" dirty="0"/>
              <a:t>LST200 –ultrasonic </a:t>
            </a:r>
            <a:r>
              <a:rPr lang="en-US" altLang="zh-CN" dirty="0"/>
              <a:t>level transmitter</a:t>
            </a:r>
            <a:endParaRPr lang="en-US" dirty="0"/>
          </a:p>
        </p:txBody>
      </p:sp>
      <p:sp>
        <p:nvSpPr>
          <p:cNvPr id="9" name="Subtitle 8">
            <a:extLst>
              <a:ext uri="{FF2B5EF4-FFF2-40B4-BE49-F238E27FC236}">
                <a16:creationId xmlns:a16="http://schemas.microsoft.com/office/drawing/2014/main" id="{16CB9DA3-93A7-4317-9A74-7E702B64EF1F}"/>
              </a:ext>
            </a:extLst>
          </p:cNvPr>
          <p:cNvSpPr>
            <a:spLocks noGrp="1"/>
          </p:cNvSpPr>
          <p:nvPr>
            <p:ph type="subTitle" idx="1"/>
          </p:nvPr>
        </p:nvSpPr>
        <p:spPr/>
        <p:txBody>
          <a:bodyPr/>
          <a:lstStyle/>
          <a:p>
            <a:r>
              <a:rPr lang="en-US" altLang="zh-CN" dirty="0"/>
              <a:t>An easy choice for intelligent level measurement</a:t>
            </a:r>
            <a:endParaRPr lang="en-US" dirty="0"/>
          </a:p>
        </p:txBody>
      </p:sp>
      <p:sp>
        <p:nvSpPr>
          <p:cNvPr id="12" name="Text Placeholder 11">
            <a:extLst>
              <a:ext uri="{FF2B5EF4-FFF2-40B4-BE49-F238E27FC236}">
                <a16:creationId xmlns:a16="http://schemas.microsoft.com/office/drawing/2014/main" id="{7F865EDB-23AA-4B3A-AF18-AD4580C593A8}"/>
              </a:ext>
            </a:extLst>
          </p:cNvPr>
          <p:cNvSpPr>
            <a:spLocks noGrp="1"/>
          </p:cNvSpPr>
          <p:nvPr>
            <p:ph type="body" sz="quarter" idx="14"/>
          </p:nvPr>
        </p:nvSpPr>
        <p:spPr/>
        <p:txBody>
          <a:bodyPr/>
          <a:lstStyle/>
          <a:p>
            <a:r>
              <a:rPr lang="en-US" dirty="0"/>
              <a:t>Jack </a:t>
            </a:r>
            <a:r>
              <a:rPr lang="en-US" dirty="0" err="1"/>
              <a:t>Mingyi</a:t>
            </a:r>
            <a:r>
              <a:rPr lang="en-US" dirty="0"/>
              <a:t> Wang, Global Product Manager, Ultrasonic Level  Products</a:t>
            </a:r>
          </a:p>
        </p:txBody>
      </p:sp>
      <p:pic>
        <p:nvPicPr>
          <p:cNvPr id="5" name="Picture Placeholder 18" descr="A picture containing outdoor, snow, grass, covered&#10;&#10;Description automatically generated">
            <a:extLst>
              <a:ext uri="{FF2B5EF4-FFF2-40B4-BE49-F238E27FC236}">
                <a16:creationId xmlns:a16="http://schemas.microsoft.com/office/drawing/2014/main" id="{55EA0474-83DA-4E41-A369-EEF11C5CC2E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 y="0"/>
            <a:ext cx="12192000" cy="4610100"/>
          </a:xfrm>
          <a:prstGeom prst="rect">
            <a:avLst/>
          </a:prstGeom>
        </p:spPr>
      </p:pic>
    </p:spTree>
    <p:extLst>
      <p:ext uri="{BB962C8B-B14F-4D97-AF65-F5344CB8AC3E}">
        <p14:creationId xmlns:p14="http://schemas.microsoft.com/office/powerpoint/2010/main" val="4099974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E4DD9EBF-2D69-411F-B6C5-C8EA66434DDE}"/>
              </a:ext>
            </a:extLst>
          </p:cNvPr>
          <p:cNvSpPr>
            <a:spLocks noGrp="1"/>
          </p:cNvSpPr>
          <p:nvPr>
            <p:ph type="title"/>
          </p:nvPr>
        </p:nvSpPr>
        <p:spPr/>
        <p:txBody>
          <a:bodyPr/>
          <a:lstStyle/>
          <a:p>
            <a:r>
              <a:rPr lang="en-US" dirty="0"/>
              <a:t>LST200 introduction</a:t>
            </a:r>
          </a:p>
        </p:txBody>
      </p:sp>
      <p:sp>
        <p:nvSpPr>
          <p:cNvPr id="5" name="Footer Placeholder 4">
            <a:extLst>
              <a:ext uri="{FF2B5EF4-FFF2-40B4-BE49-F238E27FC236}">
                <a16:creationId xmlns:a16="http://schemas.microsoft.com/office/drawing/2014/main" id="{F62AD946-1460-437E-9A47-A0559EF4496A}"/>
              </a:ext>
            </a:extLst>
          </p:cNvPr>
          <p:cNvSpPr>
            <a:spLocks noGrp="1"/>
          </p:cNvSpPr>
          <p:nvPr>
            <p:ph type="ftr" sz="quarter" idx="10"/>
          </p:nvPr>
        </p:nvSpPr>
        <p:spPr/>
        <p:txBody>
          <a:bodyPr/>
          <a:lstStyle/>
          <a:p>
            <a:pPr lvl="8"/>
            <a:endParaRPr lang="en-US" dirty="0"/>
          </a:p>
        </p:txBody>
      </p:sp>
      <p:sp>
        <p:nvSpPr>
          <p:cNvPr id="6" name="Slide Number Placeholder 5">
            <a:extLst>
              <a:ext uri="{FF2B5EF4-FFF2-40B4-BE49-F238E27FC236}">
                <a16:creationId xmlns:a16="http://schemas.microsoft.com/office/drawing/2014/main" id="{1049DCB2-BA7C-423C-9E59-4E257A0EF844}"/>
              </a:ext>
            </a:extLst>
          </p:cNvPr>
          <p:cNvSpPr>
            <a:spLocks noGrp="1"/>
          </p:cNvSpPr>
          <p:nvPr>
            <p:ph type="sldNum" sz="quarter" idx="12"/>
          </p:nvPr>
        </p:nvSpPr>
        <p:spPr/>
        <p:txBody>
          <a:bodyPr/>
          <a:lstStyle/>
          <a:p>
            <a:r>
              <a:rPr lang="en-US"/>
              <a:t>Slide </a:t>
            </a:r>
            <a:fld id="{619F89D8-7AE3-494A-97F3-03D680869632}" type="slidenum">
              <a:rPr lang="en-US" smtClean="0"/>
              <a:pPr/>
              <a:t>10</a:t>
            </a:fld>
            <a:endParaRPr lang="en-US"/>
          </a:p>
        </p:txBody>
      </p:sp>
      <p:sp>
        <p:nvSpPr>
          <p:cNvPr id="22" name="Text Placeholder 21">
            <a:extLst>
              <a:ext uri="{FF2B5EF4-FFF2-40B4-BE49-F238E27FC236}">
                <a16:creationId xmlns:a16="http://schemas.microsoft.com/office/drawing/2014/main" id="{9BDE332B-0EEA-451E-B968-5E5D1CE7077E}"/>
              </a:ext>
            </a:extLst>
          </p:cNvPr>
          <p:cNvSpPr>
            <a:spLocks noGrp="1"/>
          </p:cNvSpPr>
          <p:nvPr>
            <p:ph type="body" sz="quarter" idx="16"/>
          </p:nvPr>
        </p:nvSpPr>
        <p:spPr/>
        <p:txBody>
          <a:bodyPr/>
          <a:lstStyle/>
          <a:p>
            <a:pPr lvl="1"/>
            <a:r>
              <a:rPr lang="en-US" altLang="zh-CN" dirty="0"/>
              <a:t>GAP stabilizer </a:t>
            </a:r>
          </a:p>
        </p:txBody>
      </p:sp>
      <p:sp>
        <p:nvSpPr>
          <p:cNvPr id="2" name="Content Placeholder 1">
            <a:extLst>
              <a:ext uri="{FF2B5EF4-FFF2-40B4-BE49-F238E27FC236}">
                <a16:creationId xmlns:a16="http://schemas.microsoft.com/office/drawing/2014/main" id="{E7C10CCD-CF8D-4942-9DE3-4ACA724BEF7E}"/>
              </a:ext>
            </a:extLst>
          </p:cNvPr>
          <p:cNvSpPr>
            <a:spLocks noGrp="1"/>
          </p:cNvSpPr>
          <p:nvPr>
            <p:ph sz="quarter" idx="23"/>
          </p:nvPr>
        </p:nvSpPr>
        <p:spPr>
          <a:xfrm>
            <a:off x="393360" y="3915626"/>
            <a:ext cx="3502276" cy="1738689"/>
          </a:xfrm>
        </p:spPr>
        <p:txBody>
          <a:bodyPr/>
          <a:lstStyle/>
          <a:p>
            <a:r>
              <a:rPr lang="en-US" altLang="zh-CN" dirty="0"/>
              <a:t>Factors like unstable surface, bulk solids, vapor would cause the strength of the echo unstable </a:t>
            </a:r>
          </a:p>
          <a:p>
            <a:r>
              <a:rPr lang="en-US" altLang="zh-CN" dirty="0"/>
              <a:t>GAP stabilizer will ensure a stable output by automatically adjusting the value of the  power and gain according to the echo strength. </a:t>
            </a:r>
            <a:endParaRPr lang="en-US" altLang="zh-CN" dirty="0">
              <a:latin typeface="+mj-lt"/>
            </a:endParaRPr>
          </a:p>
        </p:txBody>
      </p:sp>
      <p:sp>
        <p:nvSpPr>
          <p:cNvPr id="23" name="Text Placeholder 22">
            <a:extLst>
              <a:ext uri="{FF2B5EF4-FFF2-40B4-BE49-F238E27FC236}">
                <a16:creationId xmlns:a16="http://schemas.microsoft.com/office/drawing/2014/main" id="{B197E84E-DF6E-4171-A657-FD608FD1C9B5}"/>
              </a:ext>
            </a:extLst>
          </p:cNvPr>
          <p:cNvSpPr>
            <a:spLocks noGrp="1"/>
          </p:cNvSpPr>
          <p:nvPr>
            <p:ph type="body" sz="quarter" idx="24"/>
          </p:nvPr>
        </p:nvSpPr>
        <p:spPr/>
        <p:txBody>
          <a:bodyPr/>
          <a:lstStyle/>
          <a:p>
            <a:r>
              <a:rPr lang="en-US" altLang="zh-CN" dirty="0"/>
              <a:t>Noise filter</a:t>
            </a:r>
            <a:endParaRPr lang="en-US" dirty="0"/>
          </a:p>
        </p:txBody>
      </p:sp>
      <p:sp>
        <p:nvSpPr>
          <p:cNvPr id="24" name="Content Placeholder 23">
            <a:extLst>
              <a:ext uri="{FF2B5EF4-FFF2-40B4-BE49-F238E27FC236}">
                <a16:creationId xmlns:a16="http://schemas.microsoft.com/office/drawing/2014/main" id="{FC11916E-2D58-4A29-B862-50136AC37F3E}"/>
              </a:ext>
            </a:extLst>
          </p:cNvPr>
          <p:cNvSpPr>
            <a:spLocks noGrp="1"/>
          </p:cNvSpPr>
          <p:nvPr>
            <p:ph sz="quarter" idx="25"/>
          </p:nvPr>
        </p:nvSpPr>
        <p:spPr>
          <a:xfrm>
            <a:off x="4241306" y="3863235"/>
            <a:ext cx="3783831" cy="2032027"/>
          </a:xfrm>
        </p:spPr>
        <p:txBody>
          <a:bodyPr/>
          <a:lstStyle/>
          <a:p>
            <a:pPr marL="0" lvl="4" indent="0">
              <a:buClr>
                <a:schemeClr val="accent1"/>
              </a:buClr>
              <a:buSzPct val="70000"/>
              <a:buNone/>
            </a:pPr>
            <a:r>
              <a:rPr lang="en-US" altLang="zh-CN" dirty="0">
                <a:latin typeface="+mj-lt"/>
              </a:rPr>
              <a:t>Random noise from electronics  and  environment would cause false echo and output</a:t>
            </a:r>
          </a:p>
          <a:p>
            <a:pPr marL="0" lvl="4" indent="0">
              <a:buClr>
                <a:schemeClr val="accent1"/>
              </a:buClr>
              <a:buSzPct val="70000"/>
              <a:buNone/>
            </a:pPr>
            <a:r>
              <a:rPr lang="en-US" altLang="zh-CN" dirty="0">
                <a:latin typeface="+mj-lt"/>
              </a:rPr>
              <a:t>LST200’s noise filter algorithm would tell the real echo from the random ones so as to safeguard the device in harsh environment like storm</a:t>
            </a:r>
          </a:p>
          <a:p>
            <a:pPr lvl="2">
              <a:buFont typeface="ABBvoice" panose="020D0603020503020204" pitchFamily="34" charset="0"/>
              <a:buChar char="–"/>
            </a:pPr>
            <a:endParaRPr lang="en-US" altLang="zh-CN" dirty="0">
              <a:latin typeface="+mj-lt"/>
            </a:endParaRPr>
          </a:p>
        </p:txBody>
      </p:sp>
      <p:sp>
        <p:nvSpPr>
          <p:cNvPr id="25" name="Text Placeholder 24">
            <a:extLst>
              <a:ext uri="{FF2B5EF4-FFF2-40B4-BE49-F238E27FC236}">
                <a16:creationId xmlns:a16="http://schemas.microsoft.com/office/drawing/2014/main" id="{DC95FC57-7090-48A2-83D5-0517B2B9257D}"/>
              </a:ext>
            </a:extLst>
          </p:cNvPr>
          <p:cNvSpPr>
            <a:spLocks noGrp="1"/>
          </p:cNvSpPr>
          <p:nvPr>
            <p:ph type="body" sz="quarter" idx="26"/>
          </p:nvPr>
        </p:nvSpPr>
        <p:spPr/>
        <p:txBody>
          <a:bodyPr/>
          <a:lstStyle/>
          <a:p>
            <a:r>
              <a:rPr lang="en-US" dirty="0"/>
              <a:t>Temperature compensator </a:t>
            </a:r>
          </a:p>
        </p:txBody>
      </p:sp>
      <p:sp>
        <p:nvSpPr>
          <p:cNvPr id="21" name="Subtitle 20">
            <a:extLst>
              <a:ext uri="{FF2B5EF4-FFF2-40B4-BE49-F238E27FC236}">
                <a16:creationId xmlns:a16="http://schemas.microsoft.com/office/drawing/2014/main" id="{AA71B517-0530-44DA-9299-D7DCE4FAB017}"/>
              </a:ext>
            </a:extLst>
          </p:cNvPr>
          <p:cNvSpPr>
            <a:spLocks noGrp="1"/>
          </p:cNvSpPr>
          <p:nvPr>
            <p:ph type="subTitle" idx="13"/>
          </p:nvPr>
        </p:nvSpPr>
        <p:spPr/>
        <p:txBody>
          <a:bodyPr/>
          <a:lstStyle/>
          <a:p>
            <a:r>
              <a:rPr lang="en-US" altLang="zh-CN" dirty="0">
                <a:solidFill>
                  <a:schemeClr val="accent1"/>
                </a:solidFill>
              </a:rPr>
              <a:t>Long-proven </a:t>
            </a:r>
            <a:r>
              <a:rPr lang="de-DE" altLang="zh-CN" dirty="0"/>
              <a:t>algorithm </a:t>
            </a:r>
            <a:r>
              <a:rPr lang="en-US" altLang="zh-CN" dirty="0">
                <a:solidFill>
                  <a:schemeClr val="accent1"/>
                </a:solidFill>
              </a:rPr>
              <a:t>for challenging applications</a:t>
            </a:r>
            <a:endParaRPr lang="en-US" dirty="0"/>
          </a:p>
        </p:txBody>
      </p:sp>
      <p:pic>
        <p:nvPicPr>
          <p:cNvPr id="27" name="Content Placeholder 26">
            <a:extLst>
              <a:ext uri="{FF2B5EF4-FFF2-40B4-BE49-F238E27FC236}">
                <a16:creationId xmlns:a16="http://schemas.microsoft.com/office/drawing/2014/main" id="{BF572C9F-AF8D-4769-86E4-AA50726FD82F}"/>
              </a:ext>
            </a:extLst>
          </p:cNvPr>
          <p:cNvPicPr>
            <a:picLocks noGrp="1" noChangeAspect="1"/>
          </p:cNvPicPr>
          <p:nvPr>
            <p:ph sz="quarter" idx="27"/>
          </p:nvPr>
        </p:nvPicPr>
        <p:blipFill>
          <a:blip r:embed="rId3" cstate="print">
            <a:extLst>
              <a:ext uri="{28A0092B-C50C-407E-A947-70E740481C1C}">
                <a14:useLocalDpi xmlns:a14="http://schemas.microsoft.com/office/drawing/2010/main"/>
              </a:ext>
            </a:extLst>
          </a:blip>
          <a:stretch>
            <a:fillRect/>
          </a:stretch>
        </p:blipFill>
        <p:spPr>
          <a:xfrm>
            <a:off x="8578668" y="2327168"/>
            <a:ext cx="2898193" cy="1550944"/>
          </a:xfrm>
          <a:prstGeom prst="rect">
            <a:avLst/>
          </a:prstGeom>
        </p:spPr>
      </p:pic>
      <p:sp>
        <p:nvSpPr>
          <p:cNvPr id="28" name="Content Placeholder 23">
            <a:extLst>
              <a:ext uri="{FF2B5EF4-FFF2-40B4-BE49-F238E27FC236}">
                <a16:creationId xmlns:a16="http://schemas.microsoft.com/office/drawing/2014/main" id="{209A323F-70A1-4E25-881E-8D35F8387C64}"/>
              </a:ext>
            </a:extLst>
          </p:cNvPr>
          <p:cNvSpPr txBox="1">
            <a:spLocks/>
          </p:cNvSpPr>
          <p:nvPr/>
        </p:nvSpPr>
        <p:spPr bwMode="gray">
          <a:xfrm>
            <a:off x="8133447" y="3971984"/>
            <a:ext cx="3788634" cy="2032027"/>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180018" lvl="2" indent="0">
              <a:buNone/>
            </a:pPr>
            <a:r>
              <a:rPr lang="en-US" altLang="zh-CN" dirty="0"/>
              <a:t>Temperature changes the speed of sound by 0.6 m/s every 1ºC which results in a 1.7mm error per ºC, per meter measured.</a:t>
            </a:r>
          </a:p>
          <a:p>
            <a:pPr marL="180018" lvl="2" indent="0">
              <a:buNone/>
            </a:pPr>
            <a:r>
              <a:rPr lang="en-US" altLang="zh-CN" dirty="0">
                <a:latin typeface="+mj-lt"/>
              </a:rPr>
              <a:t>LST200 Embedded temperate sensor  and compensation algorithm ensures the accuracy during summer and winter  </a:t>
            </a:r>
          </a:p>
        </p:txBody>
      </p:sp>
      <p:pic>
        <p:nvPicPr>
          <p:cNvPr id="9" name="Picture 8">
            <a:extLst>
              <a:ext uri="{FF2B5EF4-FFF2-40B4-BE49-F238E27FC236}">
                <a16:creationId xmlns:a16="http://schemas.microsoft.com/office/drawing/2014/main" id="{9E7D231B-A406-4FD2-B58A-CD1B712A9191}"/>
              </a:ext>
            </a:extLst>
          </p:cNvPr>
          <p:cNvPicPr>
            <a:picLocks noChangeAspect="1"/>
          </p:cNvPicPr>
          <p:nvPr/>
        </p:nvPicPr>
        <p:blipFill>
          <a:blip r:embed="rId4"/>
          <a:stretch>
            <a:fillRect/>
          </a:stretch>
        </p:blipFill>
        <p:spPr>
          <a:xfrm>
            <a:off x="4848447" y="2440670"/>
            <a:ext cx="2262298" cy="1222864"/>
          </a:xfrm>
          <a:prstGeom prst="rect">
            <a:avLst/>
          </a:prstGeom>
        </p:spPr>
      </p:pic>
      <p:sp>
        <p:nvSpPr>
          <p:cNvPr id="32" name="Content Placeholder 1">
            <a:extLst>
              <a:ext uri="{FF2B5EF4-FFF2-40B4-BE49-F238E27FC236}">
                <a16:creationId xmlns:a16="http://schemas.microsoft.com/office/drawing/2014/main" id="{7887A558-FA28-4076-BCE3-AEBDE20C168E}"/>
              </a:ext>
            </a:extLst>
          </p:cNvPr>
          <p:cNvSpPr txBox="1">
            <a:spLocks/>
          </p:cNvSpPr>
          <p:nvPr/>
        </p:nvSpPr>
        <p:spPr bwMode="gray">
          <a:xfrm>
            <a:off x="1862195" y="2233295"/>
            <a:ext cx="3502276" cy="1738689"/>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endParaRPr lang="en-US" altLang="zh-CN" dirty="0">
              <a:latin typeface="+mj-lt"/>
            </a:endParaRPr>
          </a:p>
        </p:txBody>
      </p:sp>
      <p:pic>
        <p:nvPicPr>
          <p:cNvPr id="12" name="Picture 11">
            <a:extLst>
              <a:ext uri="{FF2B5EF4-FFF2-40B4-BE49-F238E27FC236}">
                <a16:creationId xmlns:a16="http://schemas.microsoft.com/office/drawing/2014/main" id="{9405E743-ECE2-408F-8BB0-83ABDB8D421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13842" y="2446960"/>
            <a:ext cx="2262298" cy="1259133"/>
          </a:xfrm>
          <a:prstGeom prst="rect">
            <a:avLst/>
          </a:prstGeom>
        </p:spPr>
      </p:pic>
      <p:sp>
        <p:nvSpPr>
          <p:cNvPr id="4" name="Rectangle: Rounded Corners 3">
            <a:extLst>
              <a:ext uri="{FF2B5EF4-FFF2-40B4-BE49-F238E27FC236}">
                <a16:creationId xmlns:a16="http://schemas.microsoft.com/office/drawing/2014/main" id="{9C920D07-AE86-4D76-9825-3A9B9FE528AE}"/>
              </a:ext>
            </a:extLst>
          </p:cNvPr>
          <p:cNvSpPr/>
          <p:nvPr/>
        </p:nvSpPr>
        <p:spPr bwMode="gray">
          <a:xfrm>
            <a:off x="1238014" y="5516022"/>
            <a:ext cx="9483163" cy="553511"/>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ome was not built in a day- LST algorithm  evolves as rich experience data from customer sites accumulated </a:t>
            </a:r>
          </a:p>
        </p:txBody>
      </p:sp>
    </p:spTree>
    <p:extLst>
      <p:ext uri="{BB962C8B-B14F-4D97-AF65-F5344CB8AC3E}">
        <p14:creationId xmlns:p14="http://schemas.microsoft.com/office/powerpoint/2010/main" val="207062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ooter Placeholder 2">
            <a:extLst>
              <a:ext uri="{FF2B5EF4-FFF2-40B4-BE49-F238E27FC236}">
                <a16:creationId xmlns:a16="http://schemas.microsoft.com/office/drawing/2014/main" id="{FD53A6C3-1940-4239-87E5-8A7448A0AC3C}"/>
              </a:ext>
            </a:extLst>
          </p:cNvPr>
          <p:cNvSpPr>
            <a:spLocks noGrp="1"/>
          </p:cNvSpPr>
          <p:nvPr>
            <p:ph type="ftr" sz="quarter" idx="10"/>
          </p:nvPr>
        </p:nvSpPr>
        <p:spPr>
          <a:xfrm>
            <a:off x="2499782" y="6298397"/>
            <a:ext cx="8490250" cy="500072"/>
          </a:xfrm>
        </p:spPr>
        <p:txBody>
          <a:bodyPr/>
          <a:lstStyle/>
          <a:p>
            <a:pPr lvl="8"/>
            <a:endParaRPr lang="en-US" dirty="0"/>
          </a:p>
        </p:txBody>
      </p:sp>
      <p:sp>
        <p:nvSpPr>
          <p:cNvPr id="7" name="Slide Number Placeholder 5">
            <a:extLst>
              <a:ext uri="{FF2B5EF4-FFF2-40B4-BE49-F238E27FC236}">
                <a16:creationId xmlns:a16="http://schemas.microsoft.com/office/drawing/2014/main" id="{555CFC71-C458-451B-BF1D-44ADFB679CB7}"/>
              </a:ext>
            </a:extLst>
          </p:cNvPr>
          <p:cNvSpPr>
            <a:spLocks noGrp="1"/>
          </p:cNvSpPr>
          <p:nvPr>
            <p:ph type="sldNum" sz="quarter" idx="12"/>
          </p:nvPr>
        </p:nvSpPr>
        <p:spPr>
          <a:xfrm>
            <a:off x="1798114" y="6488733"/>
            <a:ext cx="676888" cy="118800"/>
          </a:xfrm>
        </p:spPr>
        <p:txBody>
          <a:bodyPr vert="horz" lIns="0" tIns="0" rIns="0" bIns="0" rtlCol="0" anchor="ctr">
            <a:normAutofit/>
          </a:bodyPr>
          <a:lstStyle/>
          <a:p>
            <a:pPr>
              <a:lnSpc>
                <a:spcPct val="90000"/>
              </a:lnSpc>
              <a:spcAft>
                <a:spcPts val="600"/>
              </a:spcAft>
            </a:pPr>
            <a:r>
              <a:rPr lang="en-US" sz="800"/>
              <a:t>Slide </a:t>
            </a:r>
            <a:fld id="{619F89D8-7AE3-494A-97F3-03D680869632}" type="slidenum">
              <a:rPr lang="en-US" sz="800" smtClean="0"/>
              <a:pPr>
                <a:lnSpc>
                  <a:spcPct val="90000"/>
                </a:lnSpc>
                <a:spcAft>
                  <a:spcPts val="600"/>
                </a:spcAft>
              </a:pPr>
              <a:t>11</a:t>
            </a:fld>
            <a:endParaRPr lang="en-US" sz="800"/>
          </a:p>
        </p:txBody>
      </p:sp>
      <p:sp>
        <p:nvSpPr>
          <p:cNvPr id="10" name="Date Placeholder 2">
            <a:extLst>
              <a:ext uri="{FF2B5EF4-FFF2-40B4-BE49-F238E27FC236}">
                <a16:creationId xmlns:a16="http://schemas.microsoft.com/office/drawing/2014/main" id="{6A9C19F2-AD92-4B89-BBCC-54B69BA625B6}"/>
              </a:ext>
            </a:extLst>
          </p:cNvPr>
          <p:cNvSpPr txBox="1">
            <a:spLocks/>
          </p:cNvSpPr>
          <p:nvPr/>
        </p:nvSpPr>
        <p:spPr bwMode="gray">
          <a:xfrm>
            <a:off x="249867" y="1909316"/>
            <a:ext cx="2064201" cy="593981"/>
          </a:xfrm>
          <a:prstGeom prst="rect">
            <a:avLst/>
          </a:prstGeom>
        </p:spPr>
        <p:txBody>
          <a:bodyPr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b="1" dirty="0">
                <a:solidFill>
                  <a:schemeClr val="tx2"/>
                </a:solidFill>
              </a:rPr>
              <a:t>Maintenance free</a:t>
            </a:r>
          </a:p>
        </p:txBody>
      </p:sp>
      <p:sp>
        <p:nvSpPr>
          <p:cNvPr id="19" name="Text Placeholder 6">
            <a:extLst>
              <a:ext uri="{FF2B5EF4-FFF2-40B4-BE49-F238E27FC236}">
                <a16:creationId xmlns:a16="http://schemas.microsoft.com/office/drawing/2014/main" id="{DFD2E553-092D-4969-94FC-51284B927209}"/>
              </a:ext>
            </a:extLst>
          </p:cNvPr>
          <p:cNvSpPr>
            <a:spLocks noGrp="1"/>
          </p:cNvSpPr>
          <p:nvPr>
            <p:ph sz="quarter" idx="19"/>
          </p:nvPr>
        </p:nvSpPr>
        <p:spPr>
          <a:xfrm>
            <a:off x="332582" y="2317640"/>
            <a:ext cx="2255520" cy="3594475"/>
          </a:xfrm>
        </p:spPr>
        <p:txBody>
          <a:bodyPr>
            <a:normAutofit lnSpcReduction="10000"/>
          </a:bodyPr>
          <a:lstStyle/>
          <a:p>
            <a:endParaRPr lang="en-US" dirty="0"/>
          </a:p>
          <a:p>
            <a:r>
              <a:rPr lang="en-US" dirty="0"/>
              <a:t>Condensation of water is commonly seen for outdoor, underground or tank applications especially in the morning of summertime or in some cold areas with hot water process</a:t>
            </a:r>
          </a:p>
          <a:p>
            <a:endParaRPr lang="en-US" dirty="0"/>
          </a:p>
          <a:p>
            <a:r>
              <a:rPr lang="en-US" dirty="0"/>
              <a:t>LST200 patented active surface could keep the sensor surface clean all the time so that no cleaning maintenance required </a:t>
            </a:r>
          </a:p>
          <a:p>
            <a:endParaRPr lang="en-US" dirty="0"/>
          </a:p>
        </p:txBody>
      </p:sp>
      <p:sp>
        <p:nvSpPr>
          <p:cNvPr id="11" name="TextBox 10">
            <a:extLst>
              <a:ext uri="{FF2B5EF4-FFF2-40B4-BE49-F238E27FC236}">
                <a16:creationId xmlns:a16="http://schemas.microsoft.com/office/drawing/2014/main" id="{D6EFE4F4-1870-4B4E-BB3B-C6D4A759BD12}"/>
              </a:ext>
            </a:extLst>
          </p:cNvPr>
          <p:cNvSpPr txBox="1"/>
          <p:nvPr/>
        </p:nvSpPr>
        <p:spPr bwMode="gray">
          <a:xfrm>
            <a:off x="2179674" y="5092995"/>
            <a:ext cx="2115879" cy="318977"/>
          </a:xfrm>
          <a:prstGeom prst="rect">
            <a:avLst/>
          </a:prstGeom>
          <a:noFill/>
        </p:spPr>
        <p:txBody>
          <a:bodyPr wrap="square" lIns="72000" tIns="72000" rIns="72000" bIns="72000" rtlCol="0">
            <a:noAutofit/>
          </a:bodyPr>
          <a:lstStyle/>
          <a:p>
            <a:endParaRPr lang="zh-CN" altLang="en-US" sz="1400" dirty="0" err="1"/>
          </a:p>
        </p:txBody>
      </p:sp>
      <p:sp>
        <p:nvSpPr>
          <p:cNvPr id="12" name="Title 11">
            <a:extLst>
              <a:ext uri="{FF2B5EF4-FFF2-40B4-BE49-F238E27FC236}">
                <a16:creationId xmlns:a16="http://schemas.microsoft.com/office/drawing/2014/main" id="{1ACCB8F1-B3C2-4543-8112-6CD1F8E97E02}"/>
              </a:ext>
            </a:extLst>
          </p:cNvPr>
          <p:cNvSpPr>
            <a:spLocks noGrp="1"/>
          </p:cNvSpPr>
          <p:nvPr>
            <p:ph type="title"/>
          </p:nvPr>
        </p:nvSpPr>
        <p:spPr/>
        <p:txBody>
          <a:bodyPr/>
          <a:lstStyle/>
          <a:p>
            <a:r>
              <a:rPr lang="en-US" dirty="0"/>
              <a:t>LST200 introduction</a:t>
            </a:r>
          </a:p>
        </p:txBody>
      </p:sp>
      <p:pic>
        <p:nvPicPr>
          <p:cNvPr id="14" name="Content Placeholder 13" descr="A picture containing indoor, butter&#10;&#10;Description automatically generated">
            <a:extLst>
              <a:ext uri="{FF2B5EF4-FFF2-40B4-BE49-F238E27FC236}">
                <a16:creationId xmlns:a16="http://schemas.microsoft.com/office/drawing/2014/main" id="{6F11A81B-F6A5-4195-BC6D-72D1E2643CF5}"/>
              </a:ext>
            </a:extLst>
          </p:cNvPr>
          <p:cNvPicPr>
            <a:picLocks noGrp="1" noChangeAspect="1"/>
          </p:cNvPicPr>
          <p:nvPr>
            <p:ph sz="quarter" idx="20"/>
          </p:nvPr>
        </p:nvPicPr>
        <p:blipFill rotWithShape="1">
          <a:blip r:embed="rId3" cstate="print">
            <a:grayscl/>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p:blipFill>
        <p:spPr>
          <a:xfrm>
            <a:off x="3109758" y="1542706"/>
            <a:ext cx="4470328" cy="2746225"/>
          </a:xfrm>
          <a:prstGeom prst="rect">
            <a:avLst/>
          </a:prstGeom>
        </p:spPr>
      </p:pic>
      <p:pic>
        <p:nvPicPr>
          <p:cNvPr id="15" name="Picture 14" descr="A picture containing indoor, cup, trash&#10;&#10;Description automatically generated">
            <a:extLst>
              <a:ext uri="{FF2B5EF4-FFF2-40B4-BE49-F238E27FC236}">
                <a16:creationId xmlns:a16="http://schemas.microsoft.com/office/drawing/2014/main" id="{9B217CBE-AD66-49E8-A40E-71042930E178}"/>
              </a:ext>
            </a:extLst>
          </p:cNvPr>
          <p:cNvPicPr>
            <a:picLocks noChangeAspect="1"/>
          </p:cNvPicPr>
          <p:nvPr/>
        </p:nvPicPr>
        <p:blipFill rotWithShape="1">
          <a:blip r:embed="rId5" cstate="print">
            <a:grayscl/>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a:ext>
            </a:extLst>
          </a:blip>
          <a:srcRect/>
          <a:stretch/>
        </p:blipFill>
        <p:spPr>
          <a:xfrm>
            <a:off x="7340914" y="3624625"/>
            <a:ext cx="4512350" cy="2424280"/>
          </a:xfrm>
          <a:prstGeom prst="rect">
            <a:avLst/>
          </a:prstGeom>
        </p:spPr>
      </p:pic>
      <p:sp>
        <p:nvSpPr>
          <p:cNvPr id="16" name="TextBox 15">
            <a:extLst>
              <a:ext uri="{FF2B5EF4-FFF2-40B4-BE49-F238E27FC236}">
                <a16:creationId xmlns:a16="http://schemas.microsoft.com/office/drawing/2014/main" id="{41207571-DC46-42A9-831E-BF53ACB52D1B}"/>
              </a:ext>
            </a:extLst>
          </p:cNvPr>
          <p:cNvSpPr txBox="1"/>
          <p:nvPr/>
        </p:nvSpPr>
        <p:spPr bwMode="gray">
          <a:xfrm>
            <a:off x="7721600" y="1485621"/>
            <a:ext cx="3444240" cy="1602158"/>
          </a:xfrm>
          <a:prstGeom prst="rect">
            <a:avLst/>
          </a:prstGeom>
          <a:noFill/>
        </p:spPr>
        <p:txBody>
          <a:bodyPr wrap="square" lIns="72000" tIns="72000" rIns="72000" bIns="72000" rtlCol="0">
            <a:noAutofit/>
          </a:bodyPr>
          <a:lstStyle/>
          <a:p>
            <a:r>
              <a:rPr lang="en-US" sz="1400" b="1" dirty="0"/>
              <a:t>LST200 VS PVDF sensor</a:t>
            </a:r>
          </a:p>
          <a:p>
            <a:endParaRPr lang="en-US" sz="1400" dirty="0"/>
          </a:p>
          <a:p>
            <a:r>
              <a:rPr lang="en-US" sz="1400" b="1" dirty="0"/>
              <a:t>PVDF</a:t>
            </a:r>
            <a:r>
              <a:rPr lang="en-US" sz="1400" dirty="0"/>
              <a:t> is the most common </a:t>
            </a:r>
            <a:r>
              <a:rPr lang="en-US" altLang="zh-CN" sz="1400" dirty="0"/>
              <a:t>material for ultrasonic products</a:t>
            </a:r>
            <a:endParaRPr lang="en-US" sz="1400" dirty="0"/>
          </a:p>
        </p:txBody>
      </p:sp>
      <p:sp>
        <p:nvSpPr>
          <p:cNvPr id="17" name="TextBox 16">
            <a:extLst>
              <a:ext uri="{FF2B5EF4-FFF2-40B4-BE49-F238E27FC236}">
                <a16:creationId xmlns:a16="http://schemas.microsoft.com/office/drawing/2014/main" id="{E9F031C0-8816-47D3-AD1D-EBE4735415E7}"/>
              </a:ext>
            </a:extLst>
          </p:cNvPr>
          <p:cNvSpPr txBox="1"/>
          <p:nvPr/>
        </p:nvSpPr>
        <p:spPr bwMode="gray">
          <a:xfrm>
            <a:off x="3620943" y="4445198"/>
            <a:ext cx="3447958" cy="1660058"/>
          </a:xfrm>
          <a:prstGeom prst="rect">
            <a:avLst/>
          </a:prstGeom>
          <a:noFill/>
        </p:spPr>
        <p:txBody>
          <a:bodyPr wrap="square" lIns="72000" tIns="72000" rIns="72000" bIns="72000" rtlCol="0">
            <a:noAutofit/>
          </a:bodyPr>
          <a:lstStyle/>
          <a:p>
            <a:r>
              <a:rPr lang="en-US" sz="1400" b="1" dirty="0"/>
              <a:t>LST200 VS PTFE sensor</a:t>
            </a:r>
          </a:p>
          <a:p>
            <a:endParaRPr lang="en-US" sz="1400" dirty="0"/>
          </a:p>
          <a:p>
            <a:r>
              <a:rPr lang="en-US" sz="1400" b="1" dirty="0"/>
              <a:t>PTFE</a:t>
            </a:r>
            <a:r>
              <a:rPr lang="en-US" sz="1400" dirty="0"/>
              <a:t> is well known for its “self-cleaning”  feature which could also be seen in some ultrasonic products</a:t>
            </a:r>
          </a:p>
        </p:txBody>
      </p:sp>
      <p:sp>
        <p:nvSpPr>
          <p:cNvPr id="18" name="Subtitle 13">
            <a:extLst>
              <a:ext uri="{FF2B5EF4-FFF2-40B4-BE49-F238E27FC236}">
                <a16:creationId xmlns:a16="http://schemas.microsoft.com/office/drawing/2014/main" id="{39E1C109-F73E-4987-BCDB-E41F63792916}"/>
              </a:ext>
            </a:extLst>
          </p:cNvPr>
          <p:cNvSpPr>
            <a:spLocks noGrp="1"/>
          </p:cNvSpPr>
          <p:nvPr>
            <p:ph type="subTitle" idx="13"/>
          </p:nvPr>
        </p:nvSpPr>
        <p:spPr>
          <a:xfrm>
            <a:off x="332368" y="1085213"/>
            <a:ext cx="11520896" cy="504000"/>
          </a:xfrm>
        </p:spPr>
        <p:txBody>
          <a:bodyPr/>
          <a:lstStyle/>
          <a:p>
            <a:r>
              <a:rPr lang="en-US" dirty="0"/>
              <a:t>Active surface: patented anti-condensation technology based on “lotus effect”</a:t>
            </a:r>
          </a:p>
        </p:txBody>
      </p:sp>
      <p:pic>
        <p:nvPicPr>
          <p:cNvPr id="20" name="Picture 19">
            <a:extLst>
              <a:ext uri="{FF2B5EF4-FFF2-40B4-BE49-F238E27FC236}">
                <a16:creationId xmlns:a16="http://schemas.microsoft.com/office/drawing/2014/main" id="{3ECB19F6-1621-4AF9-9D0D-CAB44E8B98EF}"/>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711724" y="3367750"/>
            <a:ext cx="1233461" cy="930013"/>
          </a:xfrm>
          <a:prstGeom prst="rect">
            <a:avLst/>
          </a:prstGeom>
        </p:spPr>
      </p:pic>
    </p:spTree>
    <p:extLst>
      <p:ext uri="{BB962C8B-B14F-4D97-AF65-F5344CB8AC3E}">
        <p14:creationId xmlns:p14="http://schemas.microsoft.com/office/powerpoint/2010/main" val="208986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E4DD9EBF-2D69-411F-B6C5-C8EA66434DDE}"/>
              </a:ext>
            </a:extLst>
          </p:cNvPr>
          <p:cNvSpPr>
            <a:spLocks noGrp="1"/>
          </p:cNvSpPr>
          <p:nvPr>
            <p:ph type="title"/>
          </p:nvPr>
        </p:nvSpPr>
        <p:spPr/>
        <p:txBody>
          <a:bodyPr/>
          <a:lstStyle/>
          <a:p>
            <a:r>
              <a:rPr lang="en-US" dirty="0"/>
              <a:t>LST200 introduction</a:t>
            </a:r>
          </a:p>
        </p:txBody>
      </p:sp>
      <p:sp>
        <p:nvSpPr>
          <p:cNvPr id="5" name="Footer Placeholder 4">
            <a:extLst>
              <a:ext uri="{FF2B5EF4-FFF2-40B4-BE49-F238E27FC236}">
                <a16:creationId xmlns:a16="http://schemas.microsoft.com/office/drawing/2014/main" id="{F62AD946-1460-437E-9A47-A0559EF4496A}"/>
              </a:ext>
            </a:extLst>
          </p:cNvPr>
          <p:cNvSpPr>
            <a:spLocks noGrp="1"/>
          </p:cNvSpPr>
          <p:nvPr>
            <p:ph type="ftr" sz="quarter" idx="10"/>
          </p:nvPr>
        </p:nvSpPr>
        <p:spPr/>
        <p:txBody>
          <a:bodyPr/>
          <a:lstStyle/>
          <a:p>
            <a:pPr lvl="8"/>
            <a:endParaRPr lang="en-US" dirty="0"/>
          </a:p>
        </p:txBody>
      </p:sp>
      <p:sp>
        <p:nvSpPr>
          <p:cNvPr id="6" name="Slide Number Placeholder 5">
            <a:extLst>
              <a:ext uri="{FF2B5EF4-FFF2-40B4-BE49-F238E27FC236}">
                <a16:creationId xmlns:a16="http://schemas.microsoft.com/office/drawing/2014/main" id="{1049DCB2-BA7C-423C-9E59-4E257A0EF844}"/>
              </a:ext>
            </a:extLst>
          </p:cNvPr>
          <p:cNvSpPr>
            <a:spLocks noGrp="1"/>
          </p:cNvSpPr>
          <p:nvPr>
            <p:ph type="sldNum" sz="quarter" idx="12"/>
          </p:nvPr>
        </p:nvSpPr>
        <p:spPr/>
        <p:txBody>
          <a:bodyPr/>
          <a:lstStyle/>
          <a:p>
            <a:r>
              <a:rPr lang="en-US"/>
              <a:t>Slide </a:t>
            </a:r>
            <a:fld id="{619F89D8-7AE3-494A-97F3-03D680869632}" type="slidenum">
              <a:rPr lang="en-US" smtClean="0"/>
              <a:pPr/>
              <a:t>12</a:t>
            </a:fld>
            <a:endParaRPr lang="en-US"/>
          </a:p>
        </p:txBody>
      </p:sp>
      <p:sp>
        <p:nvSpPr>
          <p:cNvPr id="22" name="Text Placeholder 21">
            <a:extLst>
              <a:ext uri="{FF2B5EF4-FFF2-40B4-BE49-F238E27FC236}">
                <a16:creationId xmlns:a16="http://schemas.microsoft.com/office/drawing/2014/main" id="{9BDE332B-0EEA-451E-B968-5E5D1CE7077E}"/>
              </a:ext>
            </a:extLst>
          </p:cNvPr>
          <p:cNvSpPr>
            <a:spLocks noGrp="1"/>
          </p:cNvSpPr>
          <p:nvPr>
            <p:ph type="body" sz="quarter" idx="16"/>
          </p:nvPr>
        </p:nvSpPr>
        <p:spPr/>
        <p:txBody>
          <a:bodyPr/>
          <a:lstStyle/>
          <a:p>
            <a:pPr lvl="1"/>
            <a:r>
              <a:rPr lang="en-US" altLang="zh-CN" dirty="0"/>
              <a:t>2 buttons LCD</a:t>
            </a:r>
          </a:p>
        </p:txBody>
      </p:sp>
      <p:sp>
        <p:nvSpPr>
          <p:cNvPr id="2" name="Content Placeholder 1">
            <a:extLst>
              <a:ext uri="{FF2B5EF4-FFF2-40B4-BE49-F238E27FC236}">
                <a16:creationId xmlns:a16="http://schemas.microsoft.com/office/drawing/2014/main" id="{E7C10CCD-CF8D-4942-9DE3-4ACA724BEF7E}"/>
              </a:ext>
            </a:extLst>
          </p:cNvPr>
          <p:cNvSpPr>
            <a:spLocks noGrp="1"/>
          </p:cNvSpPr>
          <p:nvPr>
            <p:ph sz="quarter" idx="23"/>
          </p:nvPr>
        </p:nvSpPr>
        <p:spPr>
          <a:xfrm>
            <a:off x="393360" y="3915626"/>
            <a:ext cx="3502276" cy="1738689"/>
          </a:xfrm>
        </p:spPr>
        <p:txBody>
          <a:bodyPr/>
          <a:lstStyle/>
          <a:p>
            <a:pPr marL="285750" lvl="4" indent="-285750">
              <a:buClr>
                <a:schemeClr val="accent1"/>
              </a:buClr>
              <a:buSzPct val="70000"/>
              <a:buFont typeface="ABBvoice" panose="020D0603020503020204" pitchFamily="34" charset="0"/>
              <a:buChar char="–"/>
            </a:pPr>
            <a:r>
              <a:rPr lang="en-US" altLang="zh-CN" dirty="0"/>
              <a:t>Blue backlight</a:t>
            </a:r>
          </a:p>
          <a:p>
            <a:pPr marL="285750" lvl="4" indent="-285750">
              <a:buClr>
                <a:schemeClr val="accent1"/>
              </a:buClr>
              <a:buSzPct val="70000"/>
              <a:buFont typeface="ABBvoice" panose="020D0603020503020204" pitchFamily="34" charset="0"/>
              <a:buChar char="–"/>
            </a:pPr>
            <a:r>
              <a:rPr lang="en-US" altLang="zh-CN" dirty="0"/>
              <a:t>1 minute Easy Setup</a:t>
            </a:r>
          </a:p>
          <a:p>
            <a:pPr marL="285750" lvl="4" indent="-285750">
              <a:buClr>
                <a:schemeClr val="accent1"/>
              </a:buClr>
              <a:buSzPct val="70000"/>
              <a:buFont typeface="ABBvoice" panose="020D0603020503020204" pitchFamily="34" charset="0"/>
              <a:buChar char="–"/>
            </a:pPr>
            <a:r>
              <a:rPr lang="en-US" altLang="zh-CN" dirty="0"/>
              <a:t>Real-time waveform &amp; Diagnostics messages </a:t>
            </a:r>
          </a:p>
          <a:p>
            <a:endParaRPr lang="en-US" dirty="0"/>
          </a:p>
        </p:txBody>
      </p:sp>
      <p:sp>
        <p:nvSpPr>
          <p:cNvPr id="23" name="Text Placeholder 22">
            <a:extLst>
              <a:ext uri="{FF2B5EF4-FFF2-40B4-BE49-F238E27FC236}">
                <a16:creationId xmlns:a16="http://schemas.microsoft.com/office/drawing/2014/main" id="{B197E84E-DF6E-4171-A657-FD608FD1C9B5}"/>
              </a:ext>
            </a:extLst>
          </p:cNvPr>
          <p:cNvSpPr>
            <a:spLocks noGrp="1"/>
          </p:cNvSpPr>
          <p:nvPr>
            <p:ph type="body" sz="quarter" idx="24"/>
          </p:nvPr>
        </p:nvSpPr>
        <p:spPr/>
        <p:txBody>
          <a:bodyPr/>
          <a:lstStyle/>
          <a:p>
            <a:r>
              <a:rPr lang="en-US" altLang="zh-CN" dirty="0"/>
              <a:t>ABB FIM tool</a:t>
            </a:r>
            <a:endParaRPr lang="en-US" dirty="0"/>
          </a:p>
        </p:txBody>
      </p:sp>
      <p:sp>
        <p:nvSpPr>
          <p:cNvPr id="24" name="Content Placeholder 23">
            <a:extLst>
              <a:ext uri="{FF2B5EF4-FFF2-40B4-BE49-F238E27FC236}">
                <a16:creationId xmlns:a16="http://schemas.microsoft.com/office/drawing/2014/main" id="{FC11916E-2D58-4A29-B862-50136AC37F3E}"/>
              </a:ext>
            </a:extLst>
          </p:cNvPr>
          <p:cNvSpPr>
            <a:spLocks noGrp="1"/>
          </p:cNvSpPr>
          <p:nvPr>
            <p:ph sz="quarter" idx="25"/>
          </p:nvPr>
        </p:nvSpPr>
        <p:spPr>
          <a:xfrm>
            <a:off x="4241306" y="3863235"/>
            <a:ext cx="3783831" cy="2032027"/>
          </a:xfrm>
        </p:spPr>
        <p:txBody>
          <a:bodyPr/>
          <a:lstStyle/>
          <a:p>
            <a:pPr lvl="2">
              <a:buFont typeface="ABBvoice" panose="020D0603020503020204" pitchFamily="34" charset="0"/>
              <a:buChar char="–"/>
            </a:pPr>
            <a:r>
              <a:rPr lang="en-US" dirty="0"/>
              <a:t>Graphical wizard</a:t>
            </a:r>
          </a:p>
          <a:p>
            <a:pPr lvl="2">
              <a:buFont typeface="ABBvoice" panose="020D0603020503020204" pitchFamily="34" charset="0"/>
              <a:buChar char="–"/>
            </a:pPr>
            <a:r>
              <a:rPr lang="en-US" dirty="0"/>
              <a:t>Setting backup</a:t>
            </a:r>
          </a:p>
          <a:p>
            <a:pPr lvl="2">
              <a:buFont typeface="ABBvoice" panose="020D0603020503020204" pitchFamily="34" charset="0"/>
              <a:buChar char="–"/>
            </a:pPr>
            <a:r>
              <a:rPr lang="en-US" dirty="0"/>
              <a:t>Easily duplicate the setup for  large scale installations</a:t>
            </a:r>
          </a:p>
          <a:p>
            <a:pPr lvl="2">
              <a:buFont typeface="ABBvoice" panose="020D0603020503020204" pitchFamily="34" charset="0"/>
              <a:buChar char="–"/>
            </a:pPr>
            <a:r>
              <a:rPr lang="en-US" altLang="zh-CN" dirty="0">
                <a:latin typeface="+mj-lt"/>
              </a:rPr>
              <a:t>Online commissioning</a:t>
            </a:r>
          </a:p>
        </p:txBody>
      </p:sp>
      <p:sp>
        <p:nvSpPr>
          <p:cNvPr id="25" name="Text Placeholder 24">
            <a:extLst>
              <a:ext uri="{FF2B5EF4-FFF2-40B4-BE49-F238E27FC236}">
                <a16:creationId xmlns:a16="http://schemas.microsoft.com/office/drawing/2014/main" id="{DC95FC57-7090-48A2-83D5-0517B2B9257D}"/>
              </a:ext>
            </a:extLst>
          </p:cNvPr>
          <p:cNvSpPr>
            <a:spLocks noGrp="1"/>
          </p:cNvSpPr>
          <p:nvPr>
            <p:ph type="body" sz="quarter" idx="26"/>
          </p:nvPr>
        </p:nvSpPr>
        <p:spPr/>
        <p:txBody>
          <a:bodyPr/>
          <a:lstStyle/>
          <a:p>
            <a:r>
              <a:rPr lang="en-US" dirty="0"/>
              <a:t>Open channel flow calculator</a:t>
            </a:r>
          </a:p>
        </p:txBody>
      </p:sp>
      <p:sp>
        <p:nvSpPr>
          <p:cNvPr id="21" name="Subtitle 20">
            <a:extLst>
              <a:ext uri="{FF2B5EF4-FFF2-40B4-BE49-F238E27FC236}">
                <a16:creationId xmlns:a16="http://schemas.microsoft.com/office/drawing/2014/main" id="{AA71B517-0530-44DA-9299-D7DCE4FAB017}"/>
              </a:ext>
            </a:extLst>
          </p:cNvPr>
          <p:cNvSpPr>
            <a:spLocks noGrp="1"/>
          </p:cNvSpPr>
          <p:nvPr>
            <p:ph type="subTitle" idx="13"/>
          </p:nvPr>
        </p:nvSpPr>
        <p:spPr/>
        <p:txBody>
          <a:bodyPr/>
          <a:lstStyle/>
          <a:p>
            <a:r>
              <a:rPr lang="en-US" altLang="zh-CN" dirty="0"/>
              <a:t>Friendly interface for quick setup</a:t>
            </a:r>
          </a:p>
        </p:txBody>
      </p:sp>
      <p:sp>
        <p:nvSpPr>
          <p:cNvPr id="28" name="Content Placeholder 23">
            <a:extLst>
              <a:ext uri="{FF2B5EF4-FFF2-40B4-BE49-F238E27FC236}">
                <a16:creationId xmlns:a16="http://schemas.microsoft.com/office/drawing/2014/main" id="{209A323F-70A1-4E25-881E-8D35F8387C64}"/>
              </a:ext>
            </a:extLst>
          </p:cNvPr>
          <p:cNvSpPr txBox="1">
            <a:spLocks/>
          </p:cNvSpPr>
          <p:nvPr/>
        </p:nvSpPr>
        <p:spPr bwMode="gray">
          <a:xfrm>
            <a:off x="8133447" y="3971984"/>
            <a:ext cx="3788634" cy="2032027"/>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dirty="0"/>
              <a:t>Automatic calculation of 32 points linearization table  based on rich flume models such as</a:t>
            </a:r>
          </a:p>
          <a:p>
            <a:pPr marL="465768" lvl="1" indent="-285750">
              <a:buFont typeface="ABBvoice" panose="020D0603020503020204" pitchFamily="34" charset="0"/>
              <a:buChar char="–"/>
            </a:pPr>
            <a:r>
              <a:rPr lang="en-US" dirty="0"/>
              <a:t>Parshall flumes</a:t>
            </a:r>
          </a:p>
          <a:p>
            <a:pPr marL="465768" lvl="1" indent="-285750">
              <a:buFont typeface="ABBvoice" panose="020D0603020503020204" pitchFamily="34" charset="0"/>
              <a:buChar char="–"/>
            </a:pPr>
            <a:r>
              <a:rPr lang="en-US" dirty="0"/>
              <a:t>Triangular notch thin plate weir</a:t>
            </a:r>
          </a:p>
          <a:p>
            <a:pPr marL="465768" lvl="1" indent="-285750">
              <a:buFont typeface="ABBvoice" panose="020D0603020503020204" pitchFamily="34" charset="0"/>
              <a:buChar char="–"/>
            </a:pPr>
            <a:r>
              <a:rPr lang="en-US" dirty="0"/>
              <a:t>Rectangular throated flume</a:t>
            </a:r>
          </a:p>
          <a:p>
            <a:pPr marL="180018" lvl="2" indent="0">
              <a:buNone/>
            </a:pPr>
            <a:endParaRPr lang="en-US" altLang="zh-CN" dirty="0">
              <a:latin typeface="+mj-lt"/>
            </a:endParaRPr>
          </a:p>
        </p:txBody>
      </p:sp>
      <p:sp>
        <p:nvSpPr>
          <p:cNvPr id="32" name="Content Placeholder 1">
            <a:extLst>
              <a:ext uri="{FF2B5EF4-FFF2-40B4-BE49-F238E27FC236}">
                <a16:creationId xmlns:a16="http://schemas.microsoft.com/office/drawing/2014/main" id="{7887A558-FA28-4076-BCE3-AEBDE20C168E}"/>
              </a:ext>
            </a:extLst>
          </p:cNvPr>
          <p:cNvSpPr txBox="1">
            <a:spLocks/>
          </p:cNvSpPr>
          <p:nvPr/>
        </p:nvSpPr>
        <p:spPr bwMode="gray">
          <a:xfrm>
            <a:off x="1862195" y="2233295"/>
            <a:ext cx="3502276" cy="1738689"/>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endParaRPr lang="en-US" altLang="zh-CN" dirty="0">
              <a:latin typeface="+mj-lt"/>
            </a:endParaRPr>
          </a:p>
        </p:txBody>
      </p:sp>
      <p:pic>
        <p:nvPicPr>
          <p:cNvPr id="17" name="Picture 16">
            <a:extLst>
              <a:ext uri="{FF2B5EF4-FFF2-40B4-BE49-F238E27FC236}">
                <a16:creationId xmlns:a16="http://schemas.microsoft.com/office/drawing/2014/main" id="{49857134-9B0E-4608-9561-61755A80F52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6236" y="2382267"/>
            <a:ext cx="1379194" cy="1184887"/>
          </a:xfrm>
          <a:prstGeom prst="rect">
            <a:avLst/>
          </a:prstGeom>
        </p:spPr>
      </p:pic>
      <p:pic>
        <p:nvPicPr>
          <p:cNvPr id="18" name="Picture 17">
            <a:extLst>
              <a:ext uri="{FF2B5EF4-FFF2-40B4-BE49-F238E27FC236}">
                <a16:creationId xmlns:a16="http://schemas.microsoft.com/office/drawing/2014/main" id="{D629C3C8-7BEB-4CAB-BA09-663B374C310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701939" y="2372734"/>
            <a:ext cx="2126985" cy="1179883"/>
          </a:xfrm>
          <a:prstGeom prst="rect">
            <a:avLst/>
          </a:prstGeom>
        </p:spPr>
      </p:pic>
      <p:pic>
        <p:nvPicPr>
          <p:cNvPr id="19" name="Picture 18">
            <a:extLst>
              <a:ext uri="{FF2B5EF4-FFF2-40B4-BE49-F238E27FC236}">
                <a16:creationId xmlns:a16="http://schemas.microsoft.com/office/drawing/2014/main" id="{5B2C110B-C2C0-4767-B248-6E482970220C}"/>
              </a:ext>
            </a:extLst>
          </p:cNvPr>
          <p:cNvPicPr>
            <a:picLocks noChangeAspect="1"/>
          </p:cNvPicPr>
          <p:nvPr/>
        </p:nvPicPr>
        <p:blipFill>
          <a:blip r:embed="rId5"/>
          <a:stretch>
            <a:fillRect/>
          </a:stretch>
        </p:blipFill>
        <p:spPr>
          <a:xfrm>
            <a:off x="4241306" y="2354079"/>
            <a:ext cx="3783831" cy="1301697"/>
          </a:xfrm>
          <a:prstGeom prst="rect">
            <a:avLst/>
          </a:prstGeom>
        </p:spPr>
      </p:pic>
      <p:pic>
        <p:nvPicPr>
          <p:cNvPr id="26" name="Content Placeholder 8">
            <a:extLst>
              <a:ext uri="{FF2B5EF4-FFF2-40B4-BE49-F238E27FC236}">
                <a16:creationId xmlns:a16="http://schemas.microsoft.com/office/drawing/2014/main" id="{1F9CB7FE-BA30-4F68-BFD1-6A3F5C06368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133446" y="2250684"/>
            <a:ext cx="3777381" cy="1612551"/>
          </a:xfrm>
          <a:prstGeom prst="rect">
            <a:avLst/>
          </a:prstGeom>
        </p:spPr>
      </p:pic>
    </p:spTree>
    <p:extLst>
      <p:ext uri="{BB962C8B-B14F-4D97-AF65-F5344CB8AC3E}">
        <p14:creationId xmlns:p14="http://schemas.microsoft.com/office/powerpoint/2010/main" val="418141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altLang="zh-CN" dirty="0"/>
              <a:t>LST200 ultrasonic level transmitter</a:t>
            </a:r>
            <a:endParaRPr lang="en-US" dirty="0"/>
          </a:p>
        </p:txBody>
      </p:sp>
      <p:sp>
        <p:nvSpPr>
          <p:cNvPr id="3" name="Untertitel 2"/>
          <p:cNvSpPr>
            <a:spLocks noGrp="1"/>
          </p:cNvSpPr>
          <p:nvPr>
            <p:ph type="subTitle" idx="1"/>
          </p:nvPr>
        </p:nvSpPr>
        <p:spPr/>
        <p:txBody>
          <a:bodyPr/>
          <a:lstStyle/>
          <a:p>
            <a:r>
              <a:rPr lang="en-US" altLang="zh-CN" dirty="0"/>
              <a:t>Applications</a:t>
            </a:r>
            <a:endParaRPr lang="en-US" dirty="0"/>
          </a:p>
        </p:txBody>
      </p:sp>
    </p:spTree>
    <p:extLst>
      <p:ext uri="{BB962C8B-B14F-4D97-AF65-F5344CB8AC3E}">
        <p14:creationId xmlns:p14="http://schemas.microsoft.com/office/powerpoint/2010/main" val="124194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E4DD9EBF-2D69-411F-B6C5-C8EA66434DDE}"/>
              </a:ext>
            </a:extLst>
          </p:cNvPr>
          <p:cNvSpPr>
            <a:spLocks noGrp="1"/>
          </p:cNvSpPr>
          <p:nvPr>
            <p:ph type="title"/>
          </p:nvPr>
        </p:nvSpPr>
        <p:spPr/>
        <p:txBody>
          <a:bodyPr/>
          <a:lstStyle/>
          <a:p>
            <a:r>
              <a:rPr lang="en-US" dirty="0"/>
              <a:t>LST200 introduction</a:t>
            </a:r>
          </a:p>
        </p:txBody>
      </p:sp>
      <p:sp>
        <p:nvSpPr>
          <p:cNvPr id="5" name="Footer Placeholder 4">
            <a:extLst>
              <a:ext uri="{FF2B5EF4-FFF2-40B4-BE49-F238E27FC236}">
                <a16:creationId xmlns:a16="http://schemas.microsoft.com/office/drawing/2014/main" id="{F62AD946-1460-437E-9A47-A0559EF4496A}"/>
              </a:ext>
            </a:extLst>
          </p:cNvPr>
          <p:cNvSpPr>
            <a:spLocks noGrp="1"/>
          </p:cNvSpPr>
          <p:nvPr>
            <p:ph type="ftr" sz="quarter" idx="10"/>
          </p:nvPr>
        </p:nvSpPr>
        <p:spPr/>
        <p:txBody>
          <a:bodyPr/>
          <a:lstStyle/>
          <a:p>
            <a:pPr lvl="8"/>
            <a:endParaRPr lang="en-US"/>
          </a:p>
        </p:txBody>
      </p:sp>
      <p:sp>
        <p:nvSpPr>
          <p:cNvPr id="6" name="Slide Number Placeholder 5">
            <a:extLst>
              <a:ext uri="{FF2B5EF4-FFF2-40B4-BE49-F238E27FC236}">
                <a16:creationId xmlns:a16="http://schemas.microsoft.com/office/drawing/2014/main" id="{1049DCB2-BA7C-423C-9E59-4E257A0EF844}"/>
              </a:ext>
            </a:extLst>
          </p:cNvPr>
          <p:cNvSpPr>
            <a:spLocks noGrp="1"/>
          </p:cNvSpPr>
          <p:nvPr>
            <p:ph type="sldNum" sz="quarter" idx="12"/>
          </p:nvPr>
        </p:nvSpPr>
        <p:spPr/>
        <p:txBody>
          <a:bodyPr/>
          <a:lstStyle/>
          <a:p>
            <a:r>
              <a:rPr lang="en-US"/>
              <a:t>Slide </a:t>
            </a:r>
            <a:fld id="{619F89D8-7AE3-494A-97F3-03D680869632}" type="slidenum">
              <a:rPr lang="en-US" smtClean="0"/>
              <a:pPr/>
              <a:t>14</a:t>
            </a:fld>
            <a:endParaRPr lang="en-US"/>
          </a:p>
        </p:txBody>
      </p:sp>
      <p:sp>
        <p:nvSpPr>
          <p:cNvPr id="22" name="Text Placeholder 21">
            <a:extLst>
              <a:ext uri="{FF2B5EF4-FFF2-40B4-BE49-F238E27FC236}">
                <a16:creationId xmlns:a16="http://schemas.microsoft.com/office/drawing/2014/main" id="{9BDE332B-0EEA-451E-B968-5E5D1CE7077E}"/>
              </a:ext>
            </a:extLst>
          </p:cNvPr>
          <p:cNvSpPr>
            <a:spLocks noGrp="1"/>
          </p:cNvSpPr>
          <p:nvPr>
            <p:ph type="body" sz="quarter" idx="16"/>
          </p:nvPr>
        </p:nvSpPr>
        <p:spPr/>
        <p:txBody>
          <a:bodyPr/>
          <a:lstStyle/>
          <a:p>
            <a:pPr marL="180018" lvl="4"/>
            <a:r>
              <a:rPr kumimoji="1" lang="en-US" altLang="zh-CN" dirty="0">
                <a:cs typeface="Arial" charset="0"/>
              </a:rPr>
              <a:t>Water and Wastewater </a:t>
            </a:r>
          </a:p>
        </p:txBody>
      </p:sp>
      <p:sp>
        <p:nvSpPr>
          <p:cNvPr id="2" name="Content Placeholder 1">
            <a:extLst>
              <a:ext uri="{FF2B5EF4-FFF2-40B4-BE49-F238E27FC236}">
                <a16:creationId xmlns:a16="http://schemas.microsoft.com/office/drawing/2014/main" id="{E7C10CCD-CF8D-4942-9DE3-4ACA724BEF7E}"/>
              </a:ext>
            </a:extLst>
          </p:cNvPr>
          <p:cNvSpPr>
            <a:spLocks noGrp="1"/>
          </p:cNvSpPr>
          <p:nvPr>
            <p:ph sz="quarter" idx="23"/>
          </p:nvPr>
        </p:nvSpPr>
        <p:spPr>
          <a:xfrm>
            <a:off x="350561" y="4364505"/>
            <a:ext cx="3502276" cy="1494619"/>
          </a:xfrm>
        </p:spPr>
        <p:txBody>
          <a:bodyPr/>
          <a:lstStyle/>
          <a:p>
            <a:pPr lvl="4">
              <a:buFont typeface="ABBvoice" panose="020D0603020503020204" pitchFamily="34" charset="0"/>
              <a:buChar char="–"/>
            </a:pPr>
            <a:r>
              <a:rPr kumimoji="1" lang="en-US" altLang="zh-CN" dirty="0">
                <a:cs typeface="Arial" charset="0"/>
              </a:rPr>
              <a:t>Storage tank </a:t>
            </a:r>
          </a:p>
          <a:p>
            <a:pPr lvl="4">
              <a:buFont typeface="ABBvoice" panose="020D0603020503020204" pitchFamily="34" charset="0"/>
              <a:buChar char="–"/>
            </a:pPr>
            <a:r>
              <a:rPr kumimoji="1" lang="en-US" altLang="zh-CN" dirty="0">
                <a:cs typeface="Arial" charset="0"/>
              </a:rPr>
              <a:t>Pump control</a:t>
            </a:r>
          </a:p>
          <a:p>
            <a:pPr lvl="4">
              <a:buFont typeface="ABBvoice" panose="020D0603020503020204" pitchFamily="34" charset="0"/>
              <a:buChar char="–"/>
            </a:pPr>
            <a:r>
              <a:rPr kumimoji="1" lang="en-US" altLang="zh-CN" dirty="0">
                <a:cs typeface="Arial" charset="0"/>
              </a:rPr>
              <a:t>Open channel flow</a:t>
            </a:r>
          </a:p>
          <a:p>
            <a:pPr lvl="4">
              <a:buFont typeface="ABBvoice" panose="020D0603020503020204" pitchFamily="34" charset="0"/>
              <a:buChar char="–"/>
            </a:pPr>
            <a:r>
              <a:rPr kumimoji="1" lang="en-US" altLang="zh-CN" dirty="0">
                <a:cs typeface="Arial" charset="0"/>
              </a:rPr>
              <a:t>Lagoons &amp; settling ponds</a:t>
            </a:r>
          </a:p>
          <a:p>
            <a:pPr marL="180018" lvl="4" indent="0">
              <a:buNone/>
            </a:pPr>
            <a:endParaRPr lang="en-US" altLang="zh-CN" dirty="0"/>
          </a:p>
        </p:txBody>
      </p:sp>
      <p:sp>
        <p:nvSpPr>
          <p:cNvPr id="23" name="Text Placeholder 22">
            <a:extLst>
              <a:ext uri="{FF2B5EF4-FFF2-40B4-BE49-F238E27FC236}">
                <a16:creationId xmlns:a16="http://schemas.microsoft.com/office/drawing/2014/main" id="{B197E84E-DF6E-4171-A657-FD608FD1C9B5}"/>
              </a:ext>
            </a:extLst>
          </p:cNvPr>
          <p:cNvSpPr>
            <a:spLocks noGrp="1"/>
          </p:cNvSpPr>
          <p:nvPr>
            <p:ph type="body" sz="quarter" idx="24"/>
          </p:nvPr>
        </p:nvSpPr>
        <p:spPr/>
        <p:txBody>
          <a:bodyPr/>
          <a:lstStyle/>
          <a:p>
            <a:r>
              <a:rPr kumimoji="1" lang="en-US" altLang="zh-CN" dirty="0">
                <a:cs typeface="Arial" charset="0"/>
              </a:rPr>
              <a:t>Power</a:t>
            </a:r>
            <a:endParaRPr lang="en-US" dirty="0"/>
          </a:p>
        </p:txBody>
      </p:sp>
      <p:sp>
        <p:nvSpPr>
          <p:cNvPr id="24" name="Content Placeholder 23">
            <a:extLst>
              <a:ext uri="{FF2B5EF4-FFF2-40B4-BE49-F238E27FC236}">
                <a16:creationId xmlns:a16="http://schemas.microsoft.com/office/drawing/2014/main" id="{FC11916E-2D58-4A29-B862-50136AC37F3E}"/>
              </a:ext>
            </a:extLst>
          </p:cNvPr>
          <p:cNvSpPr>
            <a:spLocks noGrp="1"/>
          </p:cNvSpPr>
          <p:nvPr>
            <p:ph sz="quarter" idx="25"/>
          </p:nvPr>
        </p:nvSpPr>
        <p:spPr>
          <a:xfrm>
            <a:off x="4205818" y="4366941"/>
            <a:ext cx="3502276" cy="1494618"/>
          </a:xfrm>
        </p:spPr>
        <p:txBody>
          <a:bodyPr/>
          <a:lstStyle/>
          <a:p>
            <a:pPr lvl="2">
              <a:buFont typeface="ABBvoice" panose="020D0603020503020204" pitchFamily="34" charset="0"/>
              <a:buChar char="–"/>
            </a:pPr>
            <a:r>
              <a:rPr kumimoji="1" lang="en-US" altLang="zh-CN" dirty="0">
                <a:cs typeface="Arial" charset="0"/>
              </a:rPr>
              <a:t>Water treatment and storage</a:t>
            </a:r>
          </a:p>
          <a:p>
            <a:pPr lvl="2">
              <a:buFont typeface="ABBvoice" panose="020D0603020503020204" pitchFamily="34" charset="0"/>
              <a:buChar char="–"/>
            </a:pPr>
            <a:r>
              <a:rPr kumimoji="1" lang="en-US" altLang="zh-CN" dirty="0">
                <a:cs typeface="Arial" charset="0"/>
              </a:rPr>
              <a:t>Coal level in coal bunker</a:t>
            </a:r>
          </a:p>
          <a:p>
            <a:pPr lvl="2">
              <a:buFont typeface="ABBvoice" panose="020D0603020503020204" pitchFamily="34" charset="0"/>
              <a:buChar char="–"/>
            </a:pPr>
            <a:endParaRPr kumimoji="1" lang="en-US" altLang="zh-CN" dirty="0">
              <a:cs typeface="Arial" charset="0"/>
            </a:endParaRPr>
          </a:p>
          <a:p>
            <a:pPr marL="180018" lvl="2" indent="0">
              <a:buNone/>
            </a:pPr>
            <a:endParaRPr lang="en-US" altLang="zh-CN" dirty="0"/>
          </a:p>
        </p:txBody>
      </p:sp>
      <p:sp>
        <p:nvSpPr>
          <p:cNvPr id="25" name="Text Placeholder 24">
            <a:extLst>
              <a:ext uri="{FF2B5EF4-FFF2-40B4-BE49-F238E27FC236}">
                <a16:creationId xmlns:a16="http://schemas.microsoft.com/office/drawing/2014/main" id="{DC95FC57-7090-48A2-83D5-0517B2B9257D}"/>
              </a:ext>
            </a:extLst>
          </p:cNvPr>
          <p:cNvSpPr>
            <a:spLocks noGrp="1"/>
          </p:cNvSpPr>
          <p:nvPr>
            <p:ph type="body" sz="quarter" idx="26"/>
          </p:nvPr>
        </p:nvSpPr>
        <p:spPr/>
        <p:txBody>
          <a:bodyPr/>
          <a:lstStyle/>
          <a:p>
            <a:r>
              <a:rPr kumimoji="1" lang="en-US" altLang="zh-CN" dirty="0">
                <a:cs typeface="Arial" charset="0"/>
              </a:rPr>
              <a:t>Food &amp; Beverage </a:t>
            </a:r>
          </a:p>
        </p:txBody>
      </p:sp>
      <p:sp>
        <p:nvSpPr>
          <p:cNvPr id="26" name="Content Placeholder 25">
            <a:extLst>
              <a:ext uri="{FF2B5EF4-FFF2-40B4-BE49-F238E27FC236}">
                <a16:creationId xmlns:a16="http://schemas.microsoft.com/office/drawing/2014/main" id="{136ADCC3-8F26-4E6E-AC5F-B10088792E80}"/>
              </a:ext>
            </a:extLst>
          </p:cNvPr>
          <p:cNvSpPr>
            <a:spLocks noGrp="1"/>
          </p:cNvSpPr>
          <p:nvPr>
            <p:ph sz="quarter" idx="27"/>
          </p:nvPr>
        </p:nvSpPr>
        <p:spPr>
          <a:xfrm>
            <a:off x="8356460" y="4366942"/>
            <a:ext cx="3719403" cy="1494620"/>
          </a:xfrm>
        </p:spPr>
        <p:txBody>
          <a:bodyPr/>
          <a:lstStyle/>
          <a:p>
            <a:pPr marL="285750" indent="-285750">
              <a:buFont typeface="ABBvoice" panose="020D0603020503020204" pitchFamily="34" charset="0"/>
              <a:buChar char="–"/>
            </a:pPr>
            <a:r>
              <a:rPr kumimoji="1" lang="en-US" altLang="zh-CN" dirty="0">
                <a:cs typeface="Arial" charset="0"/>
              </a:rPr>
              <a:t>Mixing Tanks</a:t>
            </a:r>
          </a:p>
          <a:p>
            <a:pPr marL="285750" indent="-285750">
              <a:buFont typeface="ABBvoice" panose="020D0603020503020204" pitchFamily="34" charset="0"/>
              <a:buChar char="–"/>
            </a:pPr>
            <a:r>
              <a:rPr kumimoji="1" lang="en-US" altLang="zh-CN" dirty="0">
                <a:cs typeface="Arial" charset="0"/>
              </a:rPr>
              <a:t>Water Tanks</a:t>
            </a:r>
          </a:p>
          <a:p>
            <a:pPr marL="285750" indent="-285750">
              <a:buFont typeface="ABBvoice" panose="020D0603020503020204" pitchFamily="34" charset="0"/>
              <a:buChar char="–"/>
            </a:pPr>
            <a:r>
              <a:rPr kumimoji="1" lang="en-US" altLang="zh-CN" dirty="0">
                <a:cs typeface="Arial" charset="0"/>
              </a:rPr>
              <a:t> Feed Silo’s</a:t>
            </a:r>
          </a:p>
          <a:p>
            <a:endParaRPr lang="en-US" dirty="0"/>
          </a:p>
        </p:txBody>
      </p:sp>
      <p:sp>
        <p:nvSpPr>
          <p:cNvPr id="21" name="Subtitle 20">
            <a:extLst>
              <a:ext uri="{FF2B5EF4-FFF2-40B4-BE49-F238E27FC236}">
                <a16:creationId xmlns:a16="http://schemas.microsoft.com/office/drawing/2014/main" id="{AA71B517-0530-44DA-9299-D7DCE4FAB017}"/>
              </a:ext>
            </a:extLst>
          </p:cNvPr>
          <p:cNvSpPr>
            <a:spLocks noGrp="1"/>
          </p:cNvSpPr>
          <p:nvPr>
            <p:ph type="subTitle" idx="13"/>
          </p:nvPr>
        </p:nvSpPr>
        <p:spPr/>
        <p:txBody>
          <a:bodyPr/>
          <a:lstStyle/>
          <a:p>
            <a:r>
              <a:rPr lang="de-DE" altLang="zh-CN" dirty="0"/>
              <a:t>Where does the </a:t>
            </a:r>
            <a:r>
              <a:rPr lang="en-US" altLang="zh-CN" dirty="0"/>
              <a:t>ultrasonic level transmitter work</a:t>
            </a:r>
            <a:endParaRPr lang="de-DE" altLang="zh-CN" dirty="0">
              <a:solidFill>
                <a:schemeClr val="accent1"/>
              </a:solidFill>
            </a:endParaRPr>
          </a:p>
        </p:txBody>
      </p:sp>
      <p:pic>
        <p:nvPicPr>
          <p:cNvPr id="16" name="Picture 15">
            <a:extLst>
              <a:ext uri="{FF2B5EF4-FFF2-40B4-BE49-F238E27FC236}">
                <a16:creationId xmlns:a16="http://schemas.microsoft.com/office/drawing/2014/main" id="{66B666A6-9478-450F-A3D7-77E65EC68B8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87530" y="2499929"/>
            <a:ext cx="2628338" cy="1645363"/>
          </a:xfrm>
          <a:prstGeom prst="rect">
            <a:avLst/>
          </a:prstGeom>
        </p:spPr>
      </p:pic>
      <p:pic>
        <p:nvPicPr>
          <p:cNvPr id="17" name="Picture 24" descr="iStock_000004996512Small">
            <a:extLst>
              <a:ext uri="{FF2B5EF4-FFF2-40B4-BE49-F238E27FC236}">
                <a16:creationId xmlns:a16="http://schemas.microsoft.com/office/drawing/2014/main" id="{E916E859-A173-455F-BADA-6625D6ABB7B1}"/>
              </a:ext>
            </a:extLst>
          </p:cNvPr>
          <p:cNvPicPr preferRelativeResize="0">
            <a:picLocks noChangeArrowheads="1"/>
          </p:cNvPicPr>
          <p:nvPr>
            <p:custDataLst>
              <p:tags r:id="rId1"/>
            </p:custDataLst>
          </p:nvPr>
        </p:nvPicPr>
        <p:blipFill rotWithShape="1">
          <a:blip r:embed="rId6" cstate="screen">
            <a:extLst>
              <a:ext uri="{28A0092B-C50C-407E-A947-70E740481C1C}">
                <a14:useLocalDpi xmlns:a14="http://schemas.microsoft.com/office/drawing/2010/main"/>
              </a:ext>
            </a:extLst>
          </a:blip>
          <a:srcRect/>
          <a:stretch/>
        </p:blipFill>
        <p:spPr bwMode="auto">
          <a:xfrm>
            <a:off x="4769297" y="2469287"/>
            <a:ext cx="2647036" cy="1645362"/>
          </a:xfrm>
          <a:prstGeom prst="rect">
            <a:avLst/>
          </a:prstGeom>
          <a:noFill/>
          <a:ln>
            <a:noFill/>
          </a:ln>
        </p:spPr>
      </p:pic>
      <p:pic>
        <p:nvPicPr>
          <p:cNvPr id="18" name="Picture 26" descr="iStock_000001052590Small">
            <a:extLst>
              <a:ext uri="{FF2B5EF4-FFF2-40B4-BE49-F238E27FC236}">
                <a16:creationId xmlns:a16="http://schemas.microsoft.com/office/drawing/2014/main" id="{08231EE5-9BE3-4244-A7E6-BAAAF35206E8}"/>
              </a:ext>
            </a:extLst>
          </p:cNvPr>
          <p:cNvPicPr preferRelativeResize="0">
            <a:picLocks noChangeArrowheads="1"/>
          </p:cNvPicPr>
          <p:nvPr>
            <p:custDataLst>
              <p:tags r:id="rId2"/>
            </p:custDataLst>
          </p:nvPr>
        </p:nvPicPr>
        <p:blipFill rotWithShape="1">
          <a:blip r:embed="rId7" cstate="screen">
            <a:extLst>
              <a:ext uri="{28A0092B-C50C-407E-A947-70E740481C1C}">
                <a14:useLocalDpi xmlns:a14="http://schemas.microsoft.com/office/drawing/2010/main"/>
              </a:ext>
            </a:extLst>
          </a:blip>
          <a:srcRect/>
          <a:stretch/>
        </p:blipFill>
        <p:spPr bwMode="auto">
          <a:xfrm>
            <a:off x="8696492" y="2469292"/>
            <a:ext cx="2628338" cy="1645357"/>
          </a:xfrm>
          <a:prstGeom prst="rect">
            <a:avLst/>
          </a:prstGeom>
          <a:noFill/>
          <a:ln>
            <a:noFill/>
          </a:ln>
        </p:spPr>
      </p:pic>
    </p:spTree>
    <p:extLst>
      <p:ext uri="{BB962C8B-B14F-4D97-AF65-F5344CB8AC3E}">
        <p14:creationId xmlns:p14="http://schemas.microsoft.com/office/powerpoint/2010/main" val="875087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2436E-E2F1-4798-9CD2-17F656327B90}"/>
              </a:ext>
            </a:extLst>
          </p:cNvPr>
          <p:cNvSpPr>
            <a:spLocks noGrp="1"/>
          </p:cNvSpPr>
          <p:nvPr>
            <p:ph type="title"/>
          </p:nvPr>
        </p:nvSpPr>
        <p:spPr/>
        <p:txBody>
          <a:bodyPr/>
          <a:lstStyle/>
          <a:p>
            <a:r>
              <a:rPr lang="en-US" dirty="0"/>
              <a:t>LST200 introduction</a:t>
            </a:r>
          </a:p>
        </p:txBody>
      </p:sp>
      <p:sp>
        <p:nvSpPr>
          <p:cNvPr id="3" name="Footer Placeholder 2">
            <a:extLst>
              <a:ext uri="{FF2B5EF4-FFF2-40B4-BE49-F238E27FC236}">
                <a16:creationId xmlns:a16="http://schemas.microsoft.com/office/drawing/2014/main" id="{43B240C9-795E-46FB-9E9A-772EEB000F48}"/>
              </a:ext>
            </a:extLst>
          </p:cNvPr>
          <p:cNvSpPr>
            <a:spLocks noGrp="1"/>
          </p:cNvSpPr>
          <p:nvPr>
            <p:ph type="ftr" sz="quarter" idx="10"/>
          </p:nvPr>
        </p:nvSpPr>
        <p:spPr/>
        <p:txBody>
          <a:bodyPr/>
          <a:lstStyle/>
          <a:p>
            <a:pPr lvl="8"/>
            <a:endParaRPr lang="en-US"/>
          </a:p>
        </p:txBody>
      </p:sp>
      <p:sp>
        <p:nvSpPr>
          <p:cNvPr id="5" name="Slide Number Placeholder 4">
            <a:extLst>
              <a:ext uri="{FF2B5EF4-FFF2-40B4-BE49-F238E27FC236}">
                <a16:creationId xmlns:a16="http://schemas.microsoft.com/office/drawing/2014/main" id="{0D920F75-ABB6-4357-923C-EE2215EB1CBA}"/>
              </a:ext>
            </a:extLst>
          </p:cNvPr>
          <p:cNvSpPr>
            <a:spLocks noGrp="1"/>
          </p:cNvSpPr>
          <p:nvPr>
            <p:ph type="sldNum" sz="quarter" idx="12"/>
          </p:nvPr>
        </p:nvSpPr>
        <p:spPr/>
        <p:txBody>
          <a:bodyPr/>
          <a:lstStyle/>
          <a:p>
            <a:r>
              <a:rPr lang="en-US"/>
              <a:t>Slide </a:t>
            </a:r>
            <a:fld id="{619F89D8-7AE3-494A-97F3-03D680869632}" type="slidenum">
              <a:rPr lang="en-US" smtClean="0"/>
              <a:pPr/>
              <a:t>15</a:t>
            </a:fld>
            <a:endParaRPr lang="en-US"/>
          </a:p>
        </p:txBody>
      </p:sp>
      <p:sp>
        <p:nvSpPr>
          <p:cNvPr id="13" name="Text Placeholder 12">
            <a:extLst>
              <a:ext uri="{FF2B5EF4-FFF2-40B4-BE49-F238E27FC236}">
                <a16:creationId xmlns:a16="http://schemas.microsoft.com/office/drawing/2014/main" id="{D34EC445-CC42-482B-BE56-7621E2D52B02}"/>
              </a:ext>
            </a:extLst>
          </p:cNvPr>
          <p:cNvSpPr>
            <a:spLocks noGrp="1"/>
          </p:cNvSpPr>
          <p:nvPr>
            <p:ph type="body" sz="quarter" idx="16"/>
          </p:nvPr>
        </p:nvSpPr>
        <p:spPr/>
        <p:txBody>
          <a:bodyPr/>
          <a:lstStyle/>
          <a:p>
            <a:r>
              <a:rPr lang="en-US" dirty="0"/>
              <a:t>Water and wastewater industry</a:t>
            </a:r>
          </a:p>
        </p:txBody>
      </p:sp>
      <p:sp>
        <p:nvSpPr>
          <p:cNvPr id="7" name="Content Placeholder 6">
            <a:extLst>
              <a:ext uri="{FF2B5EF4-FFF2-40B4-BE49-F238E27FC236}">
                <a16:creationId xmlns:a16="http://schemas.microsoft.com/office/drawing/2014/main" id="{8A8DB003-CE2D-484B-A35B-82EECC138050}"/>
              </a:ext>
            </a:extLst>
          </p:cNvPr>
          <p:cNvSpPr>
            <a:spLocks noGrp="1"/>
          </p:cNvSpPr>
          <p:nvPr>
            <p:ph sz="quarter" idx="19"/>
          </p:nvPr>
        </p:nvSpPr>
        <p:spPr>
          <a:xfrm>
            <a:off x="333263" y="2317640"/>
            <a:ext cx="4159643" cy="3594475"/>
          </a:xfrm>
        </p:spPr>
        <p:txBody>
          <a:bodyPr/>
          <a:lstStyle/>
          <a:p>
            <a:r>
              <a:rPr lang="en-US" dirty="0"/>
              <a:t>There is a large demand for level measurement in the water and wastewater industry where ultrasonic level transmitters are popular due to the </a:t>
            </a:r>
            <a:r>
              <a:rPr lang="en-US" altLang="zh-CN" dirty="0"/>
              <a:t>stability and cost-effectiveness in these easy applications (without high pressure and temperature, no hazardous article, etc.) including:</a:t>
            </a:r>
          </a:p>
          <a:p>
            <a:pPr lvl="1"/>
            <a:r>
              <a:rPr lang="en-US" dirty="0"/>
              <a:t>Lagoons &amp; settling ponds</a:t>
            </a:r>
          </a:p>
          <a:p>
            <a:pPr lvl="1"/>
            <a:r>
              <a:rPr lang="en-US" dirty="0"/>
              <a:t>Wet wells, lift stations and pumping stations</a:t>
            </a:r>
          </a:p>
          <a:p>
            <a:pPr lvl="1"/>
            <a:r>
              <a:rPr lang="en-US" dirty="0"/>
              <a:t>Process basins including aeration, chlorine contact, skimmer tanks, sedimentation and flotation thickeners </a:t>
            </a:r>
          </a:p>
          <a:p>
            <a:pPr lvl="1"/>
            <a:r>
              <a:rPr lang="en-US" dirty="0"/>
              <a:t>Open channels</a:t>
            </a:r>
          </a:p>
        </p:txBody>
      </p:sp>
      <p:sp>
        <p:nvSpPr>
          <p:cNvPr id="9" name="Subtitle 8">
            <a:extLst>
              <a:ext uri="{FF2B5EF4-FFF2-40B4-BE49-F238E27FC236}">
                <a16:creationId xmlns:a16="http://schemas.microsoft.com/office/drawing/2014/main" id="{3D5C92E7-7D55-4DA7-8088-05187CD4A54E}"/>
              </a:ext>
            </a:extLst>
          </p:cNvPr>
          <p:cNvSpPr>
            <a:spLocks noGrp="1"/>
          </p:cNvSpPr>
          <p:nvPr>
            <p:ph type="subTitle" idx="13"/>
          </p:nvPr>
        </p:nvSpPr>
        <p:spPr/>
        <p:txBody>
          <a:bodyPr/>
          <a:lstStyle/>
          <a:p>
            <a:r>
              <a:rPr lang="de-DE" altLang="zh-CN" dirty="0"/>
              <a:t>Where does the </a:t>
            </a:r>
            <a:r>
              <a:rPr lang="en-US" altLang="zh-CN" dirty="0"/>
              <a:t>ultrasonic level transmitter work</a:t>
            </a:r>
            <a:endParaRPr lang="de-DE" altLang="zh-CN" dirty="0">
              <a:solidFill>
                <a:schemeClr val="accent1"/>
              </a:solidFill>
            </a:endParaRPr>
          </a:p>
          <a:p>
            <a:endParaRPr lang="en-US" dirty="0"/>
          </a:p>
        </p:txBody>
      </p:sp>
      <p:grpSp>
        <p:nvGrpSpPr>
          <p:cNvPr id="17" name="Group 16">
            <a:extLst>
              <a:ext uri="{FF2B5EF4-FFF2-40B4-BE49-F238E27FC236}">
                <a16:creationId xmlns:a16="http://schemas.microsoft.com/office/drawing/2014/main" id="{11F97E50-83A8-48EC-A8FB-4D8795286A89}"/>
              </a:ext>
            </a:extLst>
          </p:cNvPr>
          <p:cNvGrpSpPr/>
          <p:nvPr/>
        </p:nvGrpSpPr>
        <p:grpSpPr>
          <a:xfrm>
            <a:off x="4458113" y="1823848"/>
            <a:ext cx="7696679" cy="4204090"/>
            <a:chOff x="-322131" y="1584325"/>
            <a:chExt cx="9587645" cy="4644867"/>
          </a:xfrm>
        </p:grpSpPr>
        <p:grpSp>
          <p:nvGrpSpPr>
            <p:cNvPr id="18" name="Gruppieren 285">
              <a:extLst>
                <a:ext uri="{FF2B5EF4-FFF2-40B4-BE49-F238E27FC236}">
                  <a16:creationId xmlns:a16="http://schemas.microsoft.com/office/drawing/2014/main" id="{604F17C0-8358-4C71-8A5C-23F4C0DCD608}"/>
                </a:ext>
              </a:extLst>
            </p:cNvPr>
            <p:cNvGrpSpPr/>
            <p:nvPr>
              <p:custDataLst>
                <p:tags r:id="rId1"/>
              </p:custDataLst>
            </p:nvPr>
          </p:nvGrpSpPr>
          <p:grpSpPr>
            <a:xfrm>
              <a:off x="223135" y="1584325"/>
              <a:ext cx="8705849" cy="4644867"/>
              <a:chOff x="223135" y="1584325"/>
              <a:chExt cx="8705849" cy="4644867"/>
            </a:xfrm>
            <a:solidFill>
              <a:schemeClr val="bg1"/>
            </a:solidFill>
          </p:grpSpPr>
          <p:sp>
            <p:nvSpPr>
              <p:cNvPr id="135" name="Freihandform 38">
                <a:extLst>
                  <a:ext uri="{FF2B5EF4-FFF2-40B4-BE49-F238E27FC236}">
                    <a16:creationId xmlns:a16="http://schemas.microsoft.com/office/drawing/2014/main" id="{903416CA-0902-4E3B-B17E-D87D56A45800}"/>
                  </a:ext>
                </a:extLst>
              </p:cNvPr>
              <p:cNvSpPr/>
              <p:nvPr/>
            </p:nvSpPr>
            <p:spPr>
              <a:xfrm>
                <a:off x="223135" y="1584325"/>
                <a:ext cx="8705849" cy="4610100"/>
              </a:xfrm>
              <a:custGeom>
                <a:avLst/>
                <a:gdLst>
                  <a:gd name="connsiteX0" fmla="*/ 0 w 8705850"/>
                  <a:gd name="connsiteY0" fmla="*/ 0 h 4629150"/>
                  <a:gd name="connsiteX1" fmla="*/ 8705850 w 8705850"/>
                  <a:gd name="connsiteY1" fmla="*/ 0 h 4629150"/>
                  <a:gd name="connsiteX2" fmla="*/ 8705850 w 8705850"/>
                  <a:gd name="connsiteY2" fmla="*/ 3019425 h 4629150"/>
                  <a:gd name="connsiteX3" fmla="*/ 4810125 w 8705850"/>
                  <a:gd name="connsiteY3" fmla="*/ 4629150 h 4629150"/>
                  <a:gd name="connsiteX4" fmla="*/ 0 w 8705850"/>
                  <a:gd name="connsiteY4" fmla="*/ 4629150 h 4629150"/>
                  <a:gd name="connsiteX5" fmla="*/ 0 w 8705850"/>
                  <a:gd name="connsiteY5" fmla="*/ 0 h 462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05850" h="4629150">
                    <a:moveTo>
                      <a:pt x="0" y="0"/>
                    </a:moveTo>
                    <a:lnTo>
                      <a:pt x="8705850" y="0"/>
                    </a:lnTo>
                    <a:lnTo>
                      <a:pt x="8705850" y="3019425"/>
                    </a:lnTo>
                    <a:lnTo>
                      <a:pt x="4810125" y="4629150"/>
                    </a:lnTo>
                    <a:lnTo>
                      <a:pt x="0" y="462915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ClrTx/>
                  <a:buSzTx/>
                  <a:buFontTx/>
                  <a:buNone/>
                  <a:defRPr/>
                </a:pPr>
                <a:endParaRPr lang="de-DE">
                  <a:solidFill>
                    <a:srgbClr val="FFFFFF"/>
                  </a:solidFill>
                  <a:latin typeface="+mj-lt"/>
                </a:endParaRPr>
              </a:p>
            </p:txBody>
          </p:sp>
          <p:sp>
            <p:nvSpPr>
              <p:cNvPr id="136" name="Freihandform 39">
                <a:extLst>
                  <a:ext uri="{FF2B5EF4-FFF2-40B4-BE49-F238E27FC236}">
                    <a16:creationId xmlns:a16="http://schemas.microsoft.com/office/drawing/2014/main" id="{C857FE53-1581-46B2-B85F-38F073DF2B73}"/>
                  </a:ext>
                </a:extLst>
              </p:cNvPr>
              <p:cNvSpPr/>
              <p:nvPr/>
            </p:nvSpPr>
            <p:spPr>
              <a:xfrm>
                <a:off x="4759307" y="4622642"/>
                <a:ext cx="3898900" cy="1606550"/>
              </a:xfrm>
              <a:custGeom>
                <a:avLst/>
                <a:gdLst>
                  <a:gd name="connsiteX0" fmla="*/ 3886200 w 3886200"/>
                  <a:gd name="connsiteY0" fmla="*/ 0 h 1619250"/>
                  <a:gd name="connsiteX1" fmla="*/ 3886200 w 3886200"/>
                  <a:gd name="connsiteY1" fmla="*/ 1619250 h 1619250"/>
                  <a:gd name="connsiteX2" fmla="*/ 0 w 3886200"/>
                  <a:gd name="connsiteY2" fmla="*/ 1619250 h 1619250"/>
                  <a:gd name="connsiteX3" fmla="*/ 3886200 w 3886200"/>
                  <a:gd name="connsiteY3" fmla="*/ 0 h 1619250"/>
                  <a:gd name="connsiteX0" fmla="*/ 3886200 w 3886200"/>
                  <a:gd name="connsiteY0" fmla="*/ 0 h 1600200"/>
                  <a:gd name="connsiteX1" fmla="*/ 3886200 w 3886200"/>
                  <a:gd name="connsiteY1" fmla="*/ 1600200 h 1600200"/>
                  <a:gd name="connsiteX2" fmla="*/ 0 w 3886200"/>
                  <a:gd name="connsiteY2" fmla="*/ 1600200 h 1600200"/>
                  <a:gd name="connsiteX3" fmla="*/ 3886200 w 3886200"/>
                  <a:gd name="connsiteY3" fmla="*/ 0 h 1600200"/>
                  <a:gd name="connsiteX0" fmla="*/ 3881437 w 3886200"/>
                  <a:gd name="connsiteY0" fmla="*/ 0 h 1600200"/>
                  <a:gd name="connsiteX1" fmla="*/ 3886200 w 3886200"/>
                  <a:gd name="connsiteY1" fmla="*/ 1600200 h 1600200"/>
                  <a:gd name="connsiteX2" fmla="*/ 0 w 3886200"/>
                  <a:gd name="connsiteY2" fmla="*/ 1600200 h 1600200"/>
                  <a:gd name="connsiteX3" fmla="*/ 3881437 w 3886200"/>
                  <a:gd name="connsiteY3" fmla="*/ 0 h 1600200"/>
                </a:gdLst>
                <a:ahLst/>
                <a:cxnLst>
                  <a:cxn ang="0">
                    <a:pos x="connsiteX0" y="connsiteY0"/>
                  </a:cxn>
                  <a:cxn ang="0">
                    <a:pos x="connsiteX1" y="connsiteY1"/>
                  </a:cxn>
                  <a:cxn ang="0">
                    <a:pos x="connsiteX2" y="connsiteY2"/>
                  </a:cxn>
                  <a:cxn ang="0">
                    <a:pos x="connsiteX3" y="connsiteY3"/>
                  </a:cxn>
                </a:cxnLst>
                <a:rect l="l" t="t" r="r" b="b"/>
                <a:pathLst>
                  <a:path w="3886200" h="1600200">
                    <a:moveTo>
                      <a:pt x="3881437" y="0"/>
                    </a:moveTo>
                    <a:cubicBezTo>
                      <a:pt x="3883025" y="533400"/>
                      <a:pt x="3884612" y="1066800"/>
                      <a:pt x="3886200" y="1600200"/>
                    </a:cubicBezTo>
                    <a:lnTo>
                      <a:pt x="0" y="1600200"/>
                    </a:lnTo>
                    <a:lnTo>
                      <a:pt x="388143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ClrTx/>
                  <a:buSzTx/>
                  <a:buFontTx/>
                  <a:buNone/>
                  <a:defRPr/>
                </a:pPr>
                <a:endParaRPr lang="de-DE" dirty="0">
                  <a:solidFill>
                    <a:srgbClr val="FFFFFF"/>
                  </a:solidFill>
                  <a:latin typeface="+mj-lt"/>
                </a:endParaRPr>
              </a:p>
            </p:txBody>
          </p:sp>
        </p:grpSp>
        <p:sp>
          <p:nvSpPr>
            <p:cNvPr id="19" name="Abgerundetes Rechteck 40">
              <a:extLst>
                <a:ext uri="{FF2B5EF4-FFF2-40B4-BE49-F238E27FC236}">
                  <a16:creationId xmlns:a16="http://schemas.microsoft.com/office/drawing/2014/main" id="{B107DF2F-3C96-4E7F-9FCB-C759C551CD32}"/>
                </a:ext>
              </a:extLst>
            </p:cNvPr>
            <p:cNvSpPr/>
            <p:nvPr/>
          </p:nvSpPr>
          <p:spPr>
            <a:xfrm rot="9463393" flipH="1" flipV="1">
              <a:off x="1784166" y="4919571"/>
              <a:ext cx="547671"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20" name="Abgerundetes Rechteck 41">
              <a:extLst>
                <a:ext uri="{FF2B5EF4-FFF2-40B4-BE49-F238E27FC236}">
                  <a16:creationId xmlns:a16="http://schemas.microsoft.com/office/drawing/2014/main" id="{7FFD277D-1509-4872-B537-FE4F53D31F75}"/>
                </a:ext>
              </a:extLst>
            </p:cNvPr>
            <p:cNvSpPr/>
            <p:nvPr/>
          </p:nvSpPr>
          <p:spPr>
            <a:xfrm rot="12136607" flipV="1">
              <a:off x="5544885" y="3989761"/>
              <a:ext cx="792000"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21" name="Abgerundetes Rechteck 43">
              <a:extLst>
                <a:ext uri="{FF2B5EF4-FFF2-40B4-BE49-F238E27FC236}">
                  <a16:creationId xmlns:a16="http://schemas.microsoft.com/office/drawing/2014/main" id="{326A44EF-C15F-4AF8-8247-AE8D036F58CF}"/>
                </a:ext>
              </a:extLst>
            </p:cNvPr>
            <p:cNvSpPr/>
            <p:nvPr/>
          </p:nvSpPr>
          <p:spPr>
            <a:xfrm rot="12136607" flipV="1">
              <a:off x="2733911" y="3273336"/>
              <a:ext cx="2916000"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22" name="Abgerundetes Rechteck 44">
              <a:extLst>
                <a:ext uri="{FF2B5EF4-FFF2-40B4-BE49-F238E27FC236}">
                  <a16:creationId xmlns:a16="http://schemas.microsoft.com/office/drawing/2014/main" id="{61DA1D51-37B8-4CDA-8A4D-C8625C7BFF70}"/>
                </a:ext>
              </a:extLst>
            </p:cNvPr>
            <p:cNvSpPr/>
            <p:nvPr/>
          </p:nvSpPr>
          <p:spPr>
            <a:xfrm rot="12191652" flipV="1">
              <a:off x="739767" y="5004958"/>
              <a:ext cx="2095116"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23" name="Abgerundetes Rechteck 45">
              <a:extLst>
                <a:ext uri="{FF2B5EF4-FFF2-40B4-BE49-F238E27FC236}">
                  <a16:creationId xmlns:a16="http://schemas.microsoft.com/office/drawing/2014/main" id="{7687251D-FB92-409D-A094-A84893EDA61B}"/>
                </a:ext>
              </a:extLst>
            </p:cNvPr>
            <p:cNvSpPr/>
            <p:nvPr/>
          </p:nvSpPr>
          <p:spPr>
            <a:xfrm rot="12191652" flipV="1">
              <a:off x="2375163" y="5039261"/>
              <a:ext cx="1097587"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24" name="Abgerundetes Rechteck 46">
              <a:extLst>
                <a:ext uri="{FF2B5EF4-FFF2-40B4-BE49-F238E27FC236}">
                  <a16:creationId xmlns:a16="http://schemas.microsoft.com/office/drawing/2014/main" id="{18B6BF1A-A7D9-47F3-9754-DF148A95A299}"/>
                </a:ext>
              </a:extLst>
            </p:cNvPr>
            <p:cNvSpPr/>
            <p:nvPr/>
          </p:nvSpPr>
          <p:spPr>
            <a:xfrm rot="9463393" flipH="1" flipV="1">
              <a:off x="4185459" y="5959591"/>
              <a:ext cx="547671"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25" name="Abgerundetes Rechteck 47">
              <a:extLst>
                <a:ext uri="{FF2B5EF4-FFF2-40B4-BE49-F238E27FC236}">
                  <a16:creationId xmlns:a16="http://schemas.microsoft.com/office/drawing/2014/main" id="{DC15E615-6E81-43AE-B96A-FCFCED8EAA57}"/>
                </a:ext>
              </a:extLst>
            </p:cNvPr>
            <p:cNvSpPr/>
            <p:nvPr/>
          </p:nvSpPr>
          <p:spPr>
            <a:xfrm rot="9463393" flipH="1" flipV="1">
              <a:off x="795701" y="4445056"/>
              <a:ext cx="827799"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26" name="Abgerundetes Rechteck 48">
              <a:extLst>
                <a:ext uri="{FF2B5EF4-FFF2-40B4-BE49-F238E27FC236}">
                  <a16:creationId xmlns:a16="http://schemas.microsoft.com/office/drawing/2014/main" id="{BB22D1AF-D5F5-4A4E-A9E8-A48CEAE78EE3}"/>
                </a:ext>
              </a:extLst>
            </p:cNvPr>
            <p:cNvSpPr/>
            <p:nvPr/>
          </p:nvSpPr>
          <p:spPr>
            <a:xfrm rot="14692493" flipV="1">
              <a:off x="2282934" y="5066789"/>
              <a:ext cx="484036" cy="4645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27" name="Abgerundetes Rechteck 49">
              <a:extLst>
                <a:ext uri="{FF2B5EF4-FFF2-40B4-BE49-F238E27FC236}">
                  <a16:creationId xmlns:a16="http://schemas.microsoft.com/office/drawing/2014/main" id="{03E1F1B4-4E0B-48BE-A085-D798D05421D4}"/>
                </a:ext>
              </a:extLst>
            </p:cNvPr>
            <p:cNvSpPr/>
            <p:nvPr/>
          </p:nvSpPr>
          <p:spPr>
            <a:xfrm rot="10800000" flipV="1">
              <a:off x="2738506" y="5352100"/>
              <a:ext cx="484036" cy="4645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28" name="Abgerundetes Rechteck 50">
              <a:extLst>
                <a:ext uri="{FF2B5EF4-FFF2-40B4-BE49-F238E27FC236}">
                  <a16:creationId xmlns:a16="http://schemas.microsoft.com/office/drawing/2014/main" id="{DE6B418D-241F-4DD0-AEF0-C32251A2061F}"/>
                </a:ext>
              </a:extLst>
            </p:cNvPr>
            <p:cNvSpPr/>
            <p:nvPr/>
          </p:nvSpPr>
          <p:spPr>
            <a:xfrm rot="12191652" flipV="1">
              <a:off x="2454938" y="4598843"/>
              <a:ext cx="1172428"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29" name="Abgerundetes Rechteck 51">
              <a:extLst>
                <a:ext uri="{FF2B5EF4-FFF2-40B4-BE49-F238E27FC236}">
                  <a16:creationId xmlns:a16="http://schemas.microsoft.com/office/drawing/2014/main" id="{DED147C7-AB91-4769-817A-E880EDA579A3}"/>
                </a:ext>
              </a:extLst>
            </p:cNvPr>
            <p:cNvSpPr/>
            <p:nvPr/>
          </p:nvSpPr>
          <p:spPr>
            <a:xfrm rot="12191652" flipV="1">
              <a:off x="3055070" y="5058779"/>
              <a:ext cx="1022365"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30" name="Abgerundetes Rechteck 52">
              <a:extLst>
                <a:ext uri="{FF2B5EF4-FFF2-40B4-BE49-F238E27FC236}">
                  <a16:creationId xmlns:a16="http://schemas.microsoft.com/office/drawing/2014/main" id="{EE946205-BD51-4557-B614-C9854DB06709}"/>
                </a:ext>
              </a:extLst>
            </p:cNvPr>
            <p:cNvSpPr/>
            <p:nvPr/>
          </p:nvSpPr>
          <p:spPr>
            <a:xfrm rot="9463393" flipH="1" flipV="1">
              <a:off x="594901" y="3223255"/>
              <a:ext cx="2419908"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31" name="Abgerundetes Rechteck 53">
              <a:extLst>
                <a:ext uri="{FF2B5EF4-FFF2-40B4-BE49-F238E27FC236}">
                  <a16:creationId xmlns:a16="http://schemas.microsoft.com/office/drawing/2014/main" id="{3D60D4F0-9010-445C-B499-F4A22FD8B6A2}"/>
                </a:ext>
              </a:extLst>
            </p:cNvPr>
            <p:cNvSpPr/>
            <p:nvPr/>
          </p:nvSpPr>
          <p:spPr>
            <a:xfrm rot="12136607" flipV="1">
              <a:off x="6441998" y="4571093"/>
              <a:ext cx="1836000"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32" name="Freeform 3">
              <a:extLst>
                <a:ext uri="{FF2B5EF4-FFF2-40B4-BE49-F238E27FC236}">
                  <a16:creationId xmlns:a16="http://schemas.microsoft.com/office/drawing/2014/main" id="{2B36D3D2-95E8-4A1B-8568-C4B92C965015}"/>
                </a:ext>
              </a:extLst>
            </p:cNvPr>
            <p:cNvSpPr>
              <a:spLocks/>
            </p:cNvSpPr>
            <p:nvPr/>
          </p:nvSpPr>
          <p:spPr bwMode="auto">
            <a:xfrm>
              <a:off x="3513138" y="1620838"/>
              <a:ext cx="3467100" cy="927100"/>
            </a:xfrm>
            <a:custGeom>
              <a:avLst/>
              <a:gdLst>
                <a:gd name="T0" fmla="*/ 2147483647 w 2184"/>
                <a:gd name="T1" fmla="*/ 2147483647 h 1083"/>
                <a:gd name="T2" fmla="*/ 2147483647 w 2184"/>
                <a:gd name="T3" fmla="*/ 2147483647 h 1083"/>
                <a:gd name="T4" fmla="*/ 2147483647 w 2184"/>
                <a:gd name="T5" fmla="*/ 2147483647 h 1083"/>
                <a:gd name="T6" fmla="*/ 2147483647 w 2184"/>
                <a:gd name="T7" fmla="*/ 2147483647 h 1083"/>
                <a:gd name="T8" fmla="*/ 2147483647 w 2184"/>
                <a:gd name="T9" fmla="*/ 2147483647 h 1083"/>
                <a:gd name="T10" fmla="*/ 2147483647 w 2184"/>
                <a:gd name="T11" fmla="*/ 2147483647 h 1083"/>
                <a:gd name="T12" fmla="*/ 2147483647 w 2184"/>
                <a:gd name="T13" fmla="*/ 2147483647 h 1083"/>
                <a:gd name="T14" fmla="*/ 2147483647 w 2184"/>
                <a:gd name="T15" fmla="*/ 2147483647 h 1083"/>
                <a:gd name="T16" fmla="*/ 0 60000 65536"/>
                <a:gd name="T17" fmla="*/ 0 60000 65536"/>
                <a:gd name="T18" fmla="*/ 0 60000 65536"/>
                <a:gd name="T19" fmla="*/ 0 60000 65536"/>
                <a:gd name="T20" fmla="*/ 0 60000 65536"/>
                <a:gd name="T21" fmla="*/ 0 60000 65536"/>
                <a:gd name="T22" fmla="*/ 0 60000 65536"/>
                <a:gd name="T23" fmla="*/ 0 60000 65536"/>
                <a:gd name="T24" fmla="*/ 0 w 2184"/>
                <a:gd name="T25" fmla="*/ 0 h 1083"/>
                <a:gd name="T26" fmla="*/ 2184 w 2184"/>
                <a:gd name="T27" fmla="*/ 1083 h 108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84" h="1083">
                  <a:moveTo>
                    <a:pt x="271" y="1059"/>
                  </a:moveTo>
                  <a:cubicBezTo>
                    <a:pt x="0" y="1035"/>
                    <a:pt x="221" y="1004"/>
                    <a:pt x="301" y="875"/>
                  </a:cubicBezTo>
                  <a:cubicBezTo>
                    <a:pt x="381" y="746"/>
                    <a:pt x="626" y="342"/>
                    <a:pt x="754" y="285"/>
                  </a:cubicBezTo>
                  <a:cubicBezTo>
                    <a:pt x="882" y="228"/>
                    <a:pt x="958" y="577"/>
                    <a:pt x="1072" y="535"/>
                  </a:cubicBezTo>
                  <a:cubicBezTo>
                    <a:pt x="1186" y="493"/>
                    <a:pt x="1311" y="0"/>
                    <a:pt x="1435" y="36"/>
                  </a:cubicBezTo>
                  <a:cubicBezTo>
                    <a:pt x="1559" y="72"/>
                    <a:pt x="1736" y="585"/>
                    <a:pt x="1818" y="749"/>
                  </a:cubicBezTo>
                  <a:cubicBezTo>
                    <a:pt x="1900" y="913"/>
                    <a:pt x="2184" y="970"/>
                    <a:pt x="1926" y="1022"/>
                  </a:cubicBezTo>
                  <a:cubicBezTo>
                    <a:pt x="1541" y="1052"/>
                    <a:pt x="542" y="1083"/>
                    <a:pt x="271" y="1059"/>
                  </a:cubicBezTo>
                  <a:close/>
                </a:path>
              </a:pathLst>
            </a:custGeom>
            <a:gradFill rotWithShape="1">
              <a:gsLst>
                <a:gs pos="0">
                  <a:srgbClr val="646464"/>
                </a:gs>
                <a:gs pos="100000">
                  <a:srgbClr val="D9D9D9"/>
                </a:gs>
              </a:gsLst>
              <a:lin ang="5400000" scaled="1"/>
            </a:gradFill>
            <a:ln>
              <a:noFill/>
            </a:ln>
            <a:extLst>
              <a:ext uri="{91240B29-F687-4F45-9708-019B960494DF}">
                <a14:hiddenLine xmlns:a14="http://schemas.microsoft.com/office/drawing/2010/main" w="25400">
                  <a:solidFill>
                    <a:srgbClr val="000000"/>
                  </a:solidFill>
                  <a:round/>
                  <a:headEnd/>
                  <a:tailEnd/>
                </a14:hiddenLine>
              </a:ext>
            </a:extLst>
          </p:spPr>
          <p:txBody>
            <a:bodyPr anchor="ctr"/>
            <a:lstStyle/>
            <a:p>
              <a:pPr>
                <a:spcBef>
                  <a:spcPct val="0"/>
                </a:spcBef>
                <a:buClrTx/>
                <a:buSzTx/>
                <a:buFontTx/>
                <a:buNone/>
              </a:pPr>
              <a:endParaRPr lang="en-US">
                <a:latin typeface="+mj-lt"/>
              </a:endParaRPr>
            </a:p>
          </p:txBody>
        </p:sp>
        <p:pic>
          <p:nvPicPr>
            <p:cNvPr id="33" name="PPTShape_4" descr="C:\Users\nikita zacharias.EXPLAIN\Desktop\Coregraphic 3.png">
              <a:extLst>
                <a:ext uri="{FF2B5EF4-FFF2-40B4-BE49-F238E27FC236}">
                  <a16:creationId xmlns:a16="http://schemas.microsoft.com/office/drawing/2014/main" id="{07E73164-BD77-4FF6-8E52-1F7295C8C2DD}"/>
                </a:ext>
              </a:extLst>
            </p:cNvPr>
            <p:cNvPicPr>
              <a:picLocks noChangeAspect="1" noChangeArrowheads="1"/>
            </p:cNvPicPr>
            <p:nvPr>
              <p:custDataLst>
                <p:tags r:id="rId2"/>
              </p:custDataLst>
            </p:nvPr>
          </p:nvPicPr>
          <p:blipFill>
            <a:blip r:embed="rId48" cstate="print">
              <a:extLst>
                <a:ext uri="{28A0092B-C50C-407E-A947-70E740481C1C}">
                  <a14:useLocalDpi xmlns:a14="http://schemas.microsoft.com/office/drawing/2010/main"/>
                </a:ext>
              </a:extLst>
            </a:blip>
            <a:srcRect/>
            <a:stretch>
              <a:fillRect/>
            </a:stretch>
          </p:blipFill>
          <p:spPr bwMode="auto">
            <a:xfrm>
              <a:off x="1271588" y="2614613"/>
              <a:ext cx="11684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4" name="Gruppieren 88">
              <a:extLst>
                <a:ext uri="{FF2B5EF4-FFF2-40B4-BE49-F238E27FC236}">
                  <a16:creationId xmlns:a16="http://schemas.microsoft.com/office/drawing/2014/main" id="{8751ACFB-D66C-456C-AF88-A0F690699CC5}"/>
                </a:ext>
              </a:extLst>
            </p:cNvPr>
            <p:cNvGrpSpPr>
              <a:grpSpLocks/>
            </p:cNvGrpSpPr>
            <p:nvPr>
              <p:custDataLst>
                <p:tags r:id="rId3"/>
              </p:custDataLst>
            </p:nvPr>
          </p:nvGrpSpPr>
          <p:grpSpPr bwMode="auto">
            <a:xfrm>
              <a:off x="7281863" y="2898775"/>
              <a:ext cx="1009650" cy="682625"/>
              <a:chOff x="7341490" y="2962766"/>
              <a:chExt cx="1010930" cy="682258"/>
            </a:xfrm>
          </p:grpSpPr>
          <p:pic>
            <p:nvPicPr>
              <p:cNvPr id="133" name="Picture 5" descr="C:\Users\nikita zacharias.EXPLAIN\Desktop\traktor.png">
                <a:extLst>
                  <a:ext uri="{FF2B5EF4-FFF2-40B4-BE49-F238E27FC236}">
                    <a16:creationId xmlns:a16="http://schemas.microsoft.com/office/drawing/2014/main" id="{EFFEA734-C887-441C-BAC3-EBB71603B771}"/>
                  </a:ext>
                </a:extLst>
              </p:cNvPr>
              <p:cNvPicPr>
                <a:picLocks noChangeAspect="1" noChangeArrowheads="1"/>
              </p:cNvPicPr>
              <p:nvPr/>
            </p:nvPicPr>
            <p:blipFill>
              <a:blip r:embed="rId49" cstate="print">
                <a:extLst>
                  <a:ext uri="{28A0092B-C50C-407E-A947-70E740481C1C}">
                    <a14:useLocalDpi xmlns:a14="http://schemas.microsoft.com/office/drawing/2010/main"/>
                  </a:ext>
                </a:extLst>
              </a:blip>
              <a:srcRect/>
              <a:stretch>
                <a:fillRect/>
              </a:stretch>
            </p:blipFill>
            <p:spPr bwMode="auto">
              <a:xfrm>
                <a:off x="7341490" y="2962766"/>
                <a:ext cx="782131" cy="63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4" name="Picture 6" descr="C:\Users\nikita zacharias.EXPLAIN\Desktop\kuh.png">
                <a:extLst>
                  <a:ext uri="{FF2B5EF4-FFF2-40B4-BE49-F238E27FC236}">
                    <a16:creationId xmlns:a16="http://schemas.microsoft.com/office/drawing/2014/main" id="{2F5F621C-4031-41EB-9C7D-6A63AC09F830}"/>
                  </a:ext>
                </a:extLst>
              </p:cNvPr>
              <p:cNvPicPr>
                <a:picLocks noChangeAspect="1" noChangeArrowheads="1"/>
              </p:cNvPicPr>
              <p:nvPr/>
            </p:nvPicPr>
            <p:blipFill>
              <a:blip r:embed="rId50" cstate="print">
                <a:extLst>
                  <a:ext uri="{28A0092B-C50C-407E-A947-70E740481C1C}">
                    <a14:useLocalDpi xmlns:a14="http://schemas.microsoft.com/office/drawing/2010/main"/>
                  </a:ext>
                </a:extLst>
              </a:blip>
              <a:srcRect/>
              <a:stretch>
                <a:fillRect/>
              </a:stretch>
            </p:blipFill>
            <p:spPr bwMode="auto">
              <a:xfrm>
                <a:off x="7895220" y="3333190"/>
                <a:ext cx="457200" cy="311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5" name="Gruppieren 305">
              <a:extLst>
                <a:ext uri="{FF2B5EF4-FFF2-40B4-BE49-F238E27FC236}">
                  <a16:creationId xmlns:a16="http://schemas.microsoft.com/office/drawing/2014/main" id="{CAD8E701-6C94-4AC4-B409-01BA778C89D0}"/>
                </a:ext>
              </a:extLst>
            </p:cNvPr>
            <p:cNvGrpSpPr>
              <a:grpSpLocks/>
            </p:cNvGrpSpPr>
            <p:nvPr>
              <p:custDataLst>
                <p:tags r:id="rId4"/>
              </p:custDataLst>
            </p:nvPr>
          </p:nvGrpSpPr>
          <p:grpSpPr bwMode="auto">
            <a:xfrm>
              <a:off x="6373813" y="1590675"/>
              <a:ext cx="2433637" cy="3260725"/>
              <a:chOff x="6374406" y="1590493"/>
              <a:chExt cx="2432445" cy="3261333"/>
            </a:xfrm>
          </p:grpSpPr>
          <p:sp>
            <p:nvSpPr>
              <p:cNvPr id="131" name="Freihandform 62">
                <a:extLst>
                  <a:ext uri="{FF2B5EF4-FFF2-40B4-BE49-F238E27FC236}">
                    <a16:creationId xmlns:a16="http://schemas.microsoft.com/office/drawing/2014/main" id="{ADF1309C-DED4-4C65-B7E4-282ED630D8B8}"/>
                  </a:ext>
                </a:extLst>
              </p:cNvPr>
              <p:cNvSpPr/>
              <p:nvPr/>
            </p:nvSpPr>
            <p:spPr>
              <a:xfrm>
                <a:off x="6374406" y="1590493"/>
                <a:ext cx="2429272" cy="3258157"/>
              </a:xfrm>
              <a:custGeom>
                <a:avLst/>
                <a:gdLst>
                  <a:gd name="connsiteX0" fmla="*/ 374651 w 2375054"/>
                  <a:gd name="connsiteY0" fmla="*/ 118 h 3210043"/>
                  <a:gd name="connsiteX1" fmla="*/ 98426 w 2375054"/>
                  <a:gd name="connsiteY1" fmla="*/ 247768 h 3210043"/>
                  <a:gd name="connsiteX2" fmla="*/ 60326 w 2375054"/>
                  <a:gd name="connsiteY2" fmla="*/ 676393 h 3210043"/>
                  <a:gd name="connsiteX3" fmla="*/ 889001 w 2375054"/>
                  <a:gd name="connsiteY3" fmla="*/ 1038343 h 3210043"/>
                  <a:gd name="connsiteX4" fmla="*/ 1727201 w 2375054"/>
                  <a:gd name="connsiteY4" fmla="*/ 1238368 h 3210043"/>
                  <a:gd name="connsiteX5" fmla="*/ 2184401 w 2375054"/>
                  <a:gd name="connsiteY5" fmla="*/ 1857493 h 3210043"/>
                  <a:gd name="connsiteX6" fmla="*/ 1822451 w 2375054"/>
                  <a:gd name="connsiteY6" fmla="*/ 2524243 h 3210043"/>
                  <a:gd name="connsiteX7" fmla="*/ 1993901 w 2375054"/>
                  <a:gd name="connsiteY7" fmla="*/ 3210043 h 3210043"/>
                  <a:gd name="connsiteX8" fmla="*/ 1993901 w 2375054"/>
                  <a:gd name="connsiteY8" fmla="*/ 3210043 h 3210043"/>
                  <a:gd name="connsiteX9" fmla="*/ 2203451 w 2375054"/>
                  <a:gd name="connsiteY9" fmla="*/ 3114793 h 3210043"/>
                  <a:gd name="connsiteX10" fmla="*/ 2051051 w 2375054"/>
                  <a:gd name="connsiteY10" fmla="*/ 2590918 h 3210043"/>
                  <a:gd name="connsiteX11" fmla="*/ 2374901 w 2375054"/>
                  <a:gd name="connsiteY11" fmla="*/ 1914643 h 3210043"/>
                  <a:gd name="connsiteX12" fmla="*/ 2003426 w 2375054"/>
                  <a:gd name="connsiteY12" fmla="*/ 1133593 h 3210043"/>
                  <a:gd name="connsiteX13" fmla="*/ 1279526 w 2375054"/>
                  <a:gd name="connsiteY13" fmla="*/ 924043 h 3210043"/>
                  <a:gd name="connsiteX14" fmla="*/ 336551 w 2375054"/>
                  <a:gd name="connsiteY14" fmla="*/ 666868 h 3210043"/>
                  <a:gd name="connsiteX15" fmla="*/ 250826 w 2375054"/>
                  <a:gd name="connsiteY15" fmla="*/ 276343 h 3210043"/>
                  <a:gd name="connsiteX16" fmla="*/ 374651 w 2375054"/>
                  <a:gd name="connsiteY16" fmla="*/ 118 h 3210043"/>
                  <a:gd name="connsiteX0" fmla="*/ 374651 w 2375049"/>
                  <a:gd name="connsiteY0" fmla="*/ 118 h 3210043"/>
                  <a:gd name="connsiteX1" fmla="*/ 98426 w 2375049"/>
                  <a:gd name="connsiteY1" fmla="*/ 247768 h 3210043"/>
                  <a:gd name="connsiteX2" fmla="*/ 60326 w 2375049"/>
                  <a:gd name="connsiteY2" fmla="*/ 676393 h 3210043"/>
                  <a:gd name="connsiteX3" fmla="*/ 889001 w 2375049"/>
                  <a:gd name="connsiteY3" fmla="*/ 1038343 h 3210043"/>
                  <a:gd name="connsiteX4" fmla="*/ 1727201 w 2375049"/>
                  <a:gd name="connsiteY4" fmla="*/ 1238368 h 3210043"/>
                  <a:gd name="connsiteX5" fmla="*/ 2184401 w 2375049"/>
                  <a:gd name="connsiteY5" fmla="*/ 1857493 h 3210043"/>
                  <a:gd name="connsiteX6" fmla="*/ 1822451 w 2375049"/>
                  <a:gd name="connsiteY6" fmla="*/ 2524243 h 3210043"/>
                  <a:gd name="connsiteX7" fmla="*/ 1993901 w 2375049"/>
                  <a:gd name="connsiteY7" fmla="*/ 3210043 h 3210043"/>
                  <a:gd name="connsiteX8" fmla="*/ 1993901 w 2375049"/>
                  <a:gd name="connsiteY8" fmla="*/ 3210043 h 3210043"/>
                  <a:gd name="connsiteX9" fmla="*/ 2257426 w 2375049"/>
                  <a:gd name="connsiteY9" fmla="*/ 3108443 h 3210043"/>
                  <a:gd name="connsiteX10" fmla="*/ 2051051 w 2375049"/>
                  <a:gd name="connsiteY10" fmla="*/ 2590918 h 3210043"/>
                  <a:gd name="connsiteX11" fmla="*/ 2374901 w 2375049"/>
                  <a:gd name="connsiteY11" fmla="*/ 1914643 h 3210043"/>
                  <a:gd name="connsiteX12" fmla="*/ 2003426 w 2375049"/>
                  <a:gd name="connsiteY12" fmla="*/ 1133593 h 3210043"/>
                  <a:gd name="connsiteX13" fmla="*/ 1279526 w 2375049"/>
                  <a:gd name="connsiteY13" fmla="*/ 924043 h 3210043"/>
                  <a:gd name="connsiteX14" fmla="*/ 336551 w 2375049"/>
                  <a:gd name="connsiteY14" fmla="*/ 666868 h 3210043"/>
                  <a:gd name="connsiteX15" fmla="*/ 250826 w 2375049"/>
                  <a:gd name="connsiteY15" fmla="*/ 276343 h 3210043"/>
                  <a:gd name="connsiteX16" fmla="*/ 374651 w 2375049"/>
                  <a:gd name="connsiteY16" fmla="*/ 118 h 3210043"/>
                  <a:gd name="connsiteX0" fmla="*/ 374651 w 2375049"/>
                  <a:gd name="connsiteY0" fmla="*/ 118 h 3210043"/>
                  <a:gd name="connsiteX1" fmla="*/ 98426 w 2375049"/>
                  <a:gd name="connsiteY1" fmla="*/ 247768 h 3210043"/>
                  <a:gd name="connsiteX2" fmla="*/ 60326 w 2375049"/>
                  <a:gd name="connsiteY2" fmla="*/ 676393 h 3210043"/>
                  <a:gd name="connsiteX3" fmla="*/ 889001 w 2375049"/>
                  <a:gd name="connsiteY3" fmla="*/ 1038343 h 3210043"/>
                  <a:gd name="connsiteX4" fmla="*/ 1727201 w 2375049"/>
                  <a:gd name="connsiteY4" fmla="*/ 1238368 h 3210043"/>
                  <a:gd name="connsiteX5" fmla="*/ 2184401 w 2375049"/>
                  <a:gd name="connsiteY5" fmla="*/ 1857493 h 3210043"/>
                  <a:gd name="connsiteX6" fmla="*/ 1822451 w 2375049"/>
                  <a:gd name="connsiteY6" fmla="*/ 2524243 h 3210043"/>
                  <a:gd name="connsiteX7" fmla="*/ 1993901 w 2375049"/>
                  <a:gd name="connsiteY7" fmla="*/ 3210043 h 3210043"/>
                  <a:gd name="connsiteX8" fmla="*/ 1993901 w 2375049"/>
                  <a:gd name="connsiteY8" fmla="*/ 3210043 h 3210043"/>
                  <a:gd name="connsiteX9" fmla="*/ 2257426 w 2375049"/>
                  <a:gd name="connsiteY9" fmla="*/ 3108443 h 3210043"/>
                  <a:gd name="connsiteX10" fmla="*/ 2051051 w 2375049"/>
                  <a:gd name="connsiteY10" fmla="*/ 2590918 h 3210043"/>
                  <a:gd name="connsiteX11" fmla="*/ 2374901 w 2375049"/>
                  <a:gd name="connsiteY11" fmla="*/ 1914643 h 3210043"/>
                  <a:gd name="connsiteX12" fmla="*/ 2003426 w 2375049"/>
                  <a:gd name="connsiteY12" fmla="*/ 1133593 h 3210043"/>
                  <a:gd name="connsiteX13" fmla="*/ 1279526 w 2375049"/>
                  <a:gd name="connsiteY13" fmla="*/ 924043 h 3210043"/>
                  <a:gd name="connsiteX14" fmla="*/ 336551 w 2375049"/>
                  <a:gd name="connsiteY14" fmla="*/ 666868 h 3210043"/>
                  <a:gd name="connsiteX15" fmla="*/ 250826 w 2375049"/>
                  <a:gd name="connsiteY15" fmla="*/ 276343 h 3210043"/>
                  <a:gd name="connsiteX16" fmla="*/ 374651 w 2375049"/>
                  <a:gd name="connsiteY16" fmla="*/ 118 h 3210043"/>
                  <a:gd name="connsiteX0" fmla="*/ 374651 w 2425701"/>
                  <a:gd name="connsiteY0" fmla="*/ 118 h 3210043"/>
                  <a:gd name="connsiteX1" fmla="*/ 98426 w 2425701"/>
                  <a:gd name="connsiteY1" fmla="*/ 247768 h 3210043"/>
                  <a:gd name="connsiteX2" fmla="*/ 60326 w 2425701"/>
                  <a:gd name="connsiteY2" fmla="*/ 676393 h 3210043"/>
                  <a:gd name="connsiteX3" fmla="*/ 889001 w 2425701"/>
                  <a:gd name="connsiteY3" fmla="*/ 1038343 h 3210043"/>
                  <a:gd name="connsiteX4" fmla="*/ 1727201 w 2425701"/>
                  <a:gd name="connsiteY4" fmla="*/ 1238368 h 3210043"/>
                  <a:gd name="connsiteX5" fmla="*/ 2184401 w 2425701"/>
                  <a:gd name="connsiteY5" fmla="*/ 1857493 h 3210043"/>
                  <a:gd name="connsiteX6" fmla="*/ 1822451 w 2425701"/>
                  <a:gd name="connsiteY6" fmla="*/ 2524243 h 3210043"/>
                  <a:gd name="connsiteX7" fmla="*/ 1993901 w 2425701"/>
                  <a:gd name="connsiteY7" fmla="*/ 3210043 h 3210043"/>
                  <a:gd name="connsiteX8" fmla="*/ 1993901 w 2425701"/>
                  <a:gd name="connsiteY8" fmla="*/ 3210043 h 3210043"/>
                  <a:gd name="connsiteX9" fmla="*/ 2425701 w 2425701"/>
                  <a:gd name="connsiteY9" fmla="*/ 3019543 h 3210043"/>
                  <a:gd name="connsiteX10" fmla="*/ 2051051 w 2425701"/>
                  <a:gd name="connsiteY10" fmla="*/ 2590918 h 3210043"/>
                  <a:gd name="connsiteX11" fmla="*/ 2374901 w 2425701"/>
                  <a:gd name="connsiteY11" fmla="*/ 1914643 h 3210043"/>
                  <a:gd name="connsiteX12" fmla="*/ 2003426 w 2425701"/>
                  <a:gd name="connsiteY12" fmla="*/ 1133593 h 3210043"/>
                  <a:gd name="connsiteX13" fmla="*/ 1279526 w 2425701"/>
                  <a:gd name="connsiteY13" fmla="*/ 924043 h 3210043"/>
                  <a:gd name="connsiteX14" fmla="*/ 336551 w 2425701"/>
                  <a:gd name="connsiteY14" fmla="*/ 666868 h 3210043"/>
                  <a:gd name="connsiteX15" fmla="*/ 250826 w 2425701"/>
                  <a:gd name="connsiteY15" fmla="*/ 276343 h 3210043"/>
                  <a:gd name="connsiteX16" fmla="*/ 374651 w 2425701"/>
                  <a:gd name="connsiteY16" fmla="*/ 118 h 3210043"/>
                  <a:gd name="connsiteX0" fmla="*/ 374651 w 2425701"/>
                  <a:gd name="connsiteY0" fmla="*/ 118 h 3260027"/>
                  <a:gd name="connsiteX1" fmla="*/ 98426 w 2425701"/>
                  <a:gd name="connsiteY1" fmla="*/ 247768 h 3260027"/>
                  <a:gd name="connsiteX2" fmla="*/ 60326 w 2425701"/>
                  <a:gd name="connsiteY2" fmla="*/ 676393 h 3260027"/>
                  <a:gd name="connsiteX3" fmla="*/ 889001 w 2425701"/>
                  <a:gd name="connsiteY3" fmla="*/ 1038343 h 3260027"/>
                  <a:gd name="connsiteX4" fmla="*/ 1727201 w 2425701"/>
                  <a:gd name="connsiteY4" fmla="*/ 1238368 h 3260027"/>
                  <a:gd name="connsiteX5" fmla="*/ 2184401 w 2425701"/>
                  <a:gd name="connsiteY5" fmla="*/ 1857493 h 3260027"/>
                  <a:gd name="connsiteX6" fmla="*/ 1822451 w 2425701"/>
                  <a:gd name="connsiteY6" fmla="*/ 2524243 h 3260027"/>
                  <a:gd name="connsiteX7" fmla="*/ 1993901 w 2425701"/>
                  <a:gd name="connsiteY7" fmla="*/ 3210043 h 3260027"/>
                  <a:gd name="connsiteX8" fmla="*/ 1990726 w 2425701"/>
                  <a:gd name="connsiteY8" fmla="*/ 3206868 h 3260027"/>
                  <a:gd name="connsiteX9" fmla="*/ 2425701 w 2425701"/>
                  <a:gd name="connsiteY9" fmla="*/ 3019543 h 3260027"/>
                  <a:gd name="connsiteX10" fmla="*/ 2051051 w 2425701"/>
                  <a:gd name="connsiteY10" fmla="*/ 2590918 h 3260027"/>
                  <a:gd name="connsiteX11" fmla="*/ 2374901 w 2425701"/>
                  <a:gd name="connsiteY11" fmla="*/ 1914643 h 3260027"/>
                  <a:gd name="connsiteX12" fmla="*/ 2003426 w 2425701"/>
                  <a:gd name="connsiteY12" fmla="*/ 1133593 h 3260027"/>
                  <a:gd name="connsiteX13" fmla="*/ 1279526 w 2425701"/>
                  <a:gd name="connsiteY13" fmla="*/ 924043 h 3260027"/>
                  <a:gd name="connsiteX14" fmla="*/ 336551 w 2425701"/>
                  <a:gd name="connsiteY14" fmla="*/ 666868 h 3260027"/>
                  <a:gd name="connsiteX15" fmla="*/ 250826 w 2425701"/>
                  <a:gd name="connsiteY15" fmla="*/ 276343 h 3260027"/>
                  <a:gd name="connsiteX16" fmla="*/ 374651 w 2425701"/>
                  <a:gd name="connsiteY16" fmla="*/ 118 h 3260027"/>
                  <a:gd name="connsiteX0" fmla="*/ 374651 w 2425701"/>
                  <a:gd name="connsiteY0" fmla="*/ 118 h 3259621"/>
                  <a:gd name="connsiteX1" fmla="*/ 98426 w 2425701"/>
                  <a:gd name="connsiteY1" fmla="*/ 247768 h 3259621"/>
                  <a:gd name="connsiteX2" fmla="*/ 60326 w 2425701"/>
                  <a:gd name="connsiteY2" fmla="*/ 676393 h 3259621"/>
                  <a:gd name="connsiteX3" fmla="*/ 889001 w 2425701"/>
                  <a:gd name="connsiteY3" fmla="*/ 1038343 h 3259621"/>
                  <a:gd name="connsiteX4" fmla="*/ 1727201 w 2425701"/>
                  <a:gd name="connsiteY4" fmla="*/ 1238368 h 3259621"/>
                  <a:gd name="connsiteX5" fmla="*/ 2184401 w 2425701"/>
                  <a:gd name="connsiteY5" fmla="*/ 1857493 h 3259621"/>
                  <a:gd name="connsiteX6" fmla="*/ 1822451 w 2425701"/>
                  <a:gd name="connsiteY6" fmla="*/ 2524243 h 3259621"/>
                  <a:gd name="connsiteX7" fmla="*/ 1993901 w 2425701"/>
                  <a:gd name="connsiteY7" fmla="*/ 3210043 h 3259621"/>
                  <a:gd name="connsiteX8" fmla="*/ 1990726 w 2425701"/>
                  <a:gd name="connsiteY8" fmla="*/ 3206868 h 3259621"/>
                  <a:gd name="connsiteX9" fmla="*/ 2425701 w 2425701"/>
                  <a:gd name="connsiteY9" fmla="*/ 3019543 h 3259621"/>
                  <a:gd name="connsiteX10" fmla="*/ 2051051 w 2425701"/>
                  <a:gd name="connsiteY10" fmla="*/ 2590918 h 3259621"/>
                  <a:gd name="connsiteX11" fmla="*/ 2374901 w 2425701"/>
                  <a:gd name="connsiteY11" fmla="*/ 1914643 h 3259621"/>
                  <a:gd name="connsiteX12" fmla="*/ 2003426 w 2425701"/>
                  <a:gd name="connsiteY12" fmla="*/ 1133593 h 3259621"/>
                  <a:gd name="connsiteX13" fmla="*/ 1279526 w 2425701"/>
                  <a:gd name="connsiteY13" fmla="*/ 924043 h 3259621"/>
                  <a:gd name="connsiteX14" fmla="*/ 336551 w 2425701"/>
                  <a:gd name="connsiteY14" fmla="*/ 666868 h 3259621"/>
                  <a:gd name="connsiteX15" fmla="*/ 250826 w 2425701"/>
                  <a:gd name="connsiteY15" fmla="*/ 276343 h 3259621"/>
                  <a:gd name="connsiteX16" fmla="*/ 374651 w 2425701"/>
                  <a:gd name="connsiteY16" fmla="*/ 118 h 3259621"/>
                  <a:gd name="connsiteX0" fmla="*/ 374651 w 2425701"/>
                  <a:gd name="connsiteY0" fmla="*/ 118 h 3317872"/>
                  <a:gd name="connsiteX1" fmla="*/ 98426 w 2425701"/>
                  <a:gd name="connsiteY1" fmla="*/ 247768 h 3317872"/>
                  <a:gd name="connsiteX2" fmla="*/ 60326 w 2425701"/>
                  <a:gd name="connsiteY2" fmla="*/ 676393 h 3317872"/>
                  <a:gd name="connsiteX3" fmla="*/ 889001 w 2425701"/>
                  <a:gd name="connsiteY3" fmla="*/ 1038343 h 3317872"/>
                  <a:gd name="connsiteX4" fmla="*/ 1727201 w 2425701"/>
                  <a:gd name="connsiteY4" fmla="*/ 1238368 h 3317872"/>
                  <a:gd name="connsiteX5" fmla="*/ 2184401 w 2425701"/>
                  <a:gd name="connsiteY5" fmla="*/ 1857493 h 3317872"/>
                  <a:gd name="connsiteX6" fmla="*/ 1822451 w 2425701"/>
                  <a:gd name="connsiteY6" fmla="*/ 2524243 h 3317872"/>
                  <a:gd name="connsiteX7" fmla="*/ 1993901 w 2425701"/>
                  <a:gd name="connsiteY7" fmla="*/ 3210043 h 3317872"/>
                  <a:gd name="connsiteX8" fmla="*/ 1981201 w 2425701"/>
                  <a:gd name="connsiteY8" fmla="*/ 3298943 h 3317872"/>
                  <a:gd name="connsiteX9" fmla="*/ 2425701 w 2425701"/>
                  <a:gd name="connsiteY9" fmla="*/ 3019543 h 3317872"/>
                  <a:gd name="connsiteX10" fmla="*/ 2051051 w 2425701"/>
                  <a:gd name="connsiteY10" fmla="*/ 2590918 h 3317872"/>
                  <a:gd name="connsiteX11" fmla="*/ 2374901 w 2425701"/>
                  <a:gd name="connsiteY11" fmla="*/ 1914643 h 3317872"/>
                  <a:gd name="connsiteX12" fmla="*/ 2003426 w 2425701"/>
                  <a:gd name="connsiteY12" fmla="*/ 1133593 h 3317872"/>
                  <a:gd name="connsiteX13" fmla="*/ 1279526 w 2425701"/>
                  <a:gd name="connsiteY13" fmla="*/ 924043 h 3317872"/>
                  <a:gd name="connsiteX14" fmla="*/ 336551 w 2425701"/>
                  <a:gd name="connsiteY14" fmla="*/ 666868 h 3317872"/>
                  <a:gd name="connsiteX15" fmla="*/ 250826 w 2425701"/>
                  <a:gd name="connsiteY15" fmla="*/ 276343 h 3317872"/>
                  <a:gd name="connsiteX16" fmla="*/ 374651 w 2425701"/>
                  <a:gd name="connsiteY16" fmla="*/ 118 h 3317872"/>
                  <a:gd name="connsiteX0" fmla="*/ 374651 w 2425879"/>
                  <a:gd name="connsiteY0" fmla="*/ 118 h 3231962"/>
                  <a:gd name="connsiteX1" fmla="*/ 98426 w 2425879"/>
                  <a:gd name="connsiteY1" fmla="*/ 247768 h 3231962"/>
                  <a:gd name="connsiteX2" fmla="*/ 60326 w 2425879"/>
                  <a:gd name="connsiteY2" fmla="*/ 676393 h 3231962"/>
                  <a:gd name="connsiteX3" fmla="*/ 889001 w 2425879"/>
                  <a:gd name="connsiteY3" fmla="*/ 1038343 h 3231962"/>
                  <a:gd name="connsiteX4" fmla="*/ 1727201 w 2425879"/>
                  <a:gd name="connsiteY4" fmla="*/ 1238368 h 3231962"/>
                  <a:gd name="connsiteX5" fmla="*/ 2184401 w 2425879"/>
                  <a:gd name="connsiteY5" fmla="*/ 1857493 h 3231962"/>
                  <a:gd name="connsiteX6" fmla="*/ 1822451 w 2425879"/>
                  <a:gd name="connsiteY6" fmla="*/ 2524243 h 3231962"/>
                  <a:gd name="connsiteX7" fmla="*/ 1993901 w 2425879"/>
                  <a:gd name="connsiteY7" fmla="*/ 3210043 h 3231962"/>
                  <a:gd name="connsiteX8" fmla="*/ 2425701 w 2425879"/>
                  <a:gd name="connsiteY8" fmla="*/ 3019543 h 3231962"/>
                  <a:gd name="connsiteX9" fmla="*/ 2051051 w 2425879"/>
                  <a:gd name="connsiteY9" fmla="*/ 2590918 h 3231962"/>
                  <a:gd name="connsiteX10" fmla="*/ 2374901 w 2425879"/>
                  <a:gd name="connsiteY10" fmla="*/ 1914643 h 3231962"/>
                  <a:gd name="connsiteX11" fmla="*/ 2003426 w 2425879"/>
                  <a:gd name="connsiteY11" fmla="*/ 1133593 h 3231962"/>
                  <a:gd name="connsiteX12" fmla="*/ 1279526 w 2425879"/>
                  <a:gd name="connsiteY12" fmla="*/ 924043 h 3231962"/>
                  <a:gd name="connsiteX13" fmla="*/ 336551 w 2425879"/>
                  <a:gd name="connsiteY13" fmla="*/ 666868 h 3231962"/>
                  <a:gd name="connsiteX14" fmla="*/ 250826 w 2425879"/>
                  <a:gd name="connsiteY14" fmla="*/ 276343 h 3231962"/>
                  <a:gd name="connsiteX15" fmla="*/ 374651 w 2425879"/>
                  <a:gd name="connsiteY15" fmla="*/ 118 h 3231962"/>
                  <a:gd name="connsiteX0" fmla="*/ 374651 w 2425879"/>
                  <a:gd name="connsiteY0" fmla="*/ 118 h 3233973"/>
                  <a:gd name="connsiteX1" fmla="*/ 98426 w 2425879"/>
                  <a:gd name="connsiteY1" fmla="*/ 247768 h 3233973"/>
                  <a:gd name="connsiteX2" fmla="*/ 60326 w 2425879"/>
                  <a:gd name="connsiteY2" fmla="*/ 676393 h 3233973"/>
                  <a:gd name="connsiteX3" fmla="*/ 889001 w 2425879"/>
                  <a:gd name="connsiteY3" fmla="*/ 1038343 h 3233973"/>
                  <a:gd name="connsiteX4" fmla="*/ 1727201 w 2425879"/>
                  <a:gd name="connsiteY4" fmla="*/ 1238368 h 3233973"/>
                  <a:gd name="connsiteX5" fmla="*/ 2184401 w 2425879"/>
                  <a:gd name="connsiteY5" fmla="*/ 1857493 h 3233973"/>
                  <a:gd name="connsiteX6" fmla="*/ 1822451 w 2425879"/>
                  <a:gd name="connsiteY6" fmla="*/ 2524243 h 3233973"/>
                  <a:gd name="connsiteX7" fmla="*/ 1993901 w 2425879"/>
                  <a:gd name="connsiteY7" fmla="*/ 3210043 h 3233973"/>
                  <a:gd name="connsiteX8" fmla="*/ 2425701 w 2425879"/>
                  <a:gd name="connsiteY8" fmla="*/ 3032243 h 3233973"/>
                  <a:gd name="connsiteX9" fmla="*/ 2051051 w 2425879"/>
                  <a:gd name="connsiteY9" fmla="*/ 2590918 h 3233973"/>
                  <a:gd name="connsiteX10" fmla="*/ 2374901 w 2425879"/>
                  <a:gd name="connsiteY10" fmla="*/ 1914643 h 3233973"/>
                  <a:gd name="connsiteX11" fmla="*/ 2003426 w 2425879"/>
                  <a:gd name="connsiteY11" fmla="*/ 1133593 h 3233973"/>
                  <a:gd name="connsiteX12" fmla="*/ 1279526 w 2425879"/>
                  <a:gd name="connsiteY12" fmla="*/ 924043 h 3233973"/>
                  <a:gd name="connsiteX13" fmla="*/ 336551 w 2425879"/>
                  <a:gd name="connsiteY13" fmla="*/ 666868 h 3233973"/>
                  <a:gd name="connsiteX14" fmla="*/ 250826 w 2425879"/>
                  <a:gd name="connsiteY14" fmla="*/ 276343 h 3233973"/>
                  <a:gd name="connsiteX15" fmla="*/ 374651 w 2425879"/>
                  <a:gd name="connsiteY15" fmla="*/ 118 h 3233973"/>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27201 w 2425896"/>
                  <a:gd name="connsiteY4" fmla="*/ 1238368 h 3244365"/>
                  <a:gd name="connsiteX5" fmla="*/ 2184401 w 2425896"/>
                  <a:gd name="connsiteY5" fmla="*/ 1857493 h 3244365"/>
                  <a:gd name="connsiteX6" fmla="*/ 1822451 w 2425896"/>
                  <a:gd name="connsiteY6" fmla="*/ 2524243 h 3244365"/>
                  <a:gd name="connsiteX7" fmla="*/ 1993901 w 2425896"/>
                  <a:gd name="connsiteY7" fmla="*/ 3210043 h 3244365"/>
                  <a:gd name="connsiteX8" fmla="*/ 2425701 w 2425896"/>
                  <a:gd name="connsiteY8" fmla="*/ 3032243 h 3244365"/>
                  <a:gd name="connsiteX9" fmla="*/ 2051051 w 2425896"/>
                  <a:gd name="connsiteY9" fmla="*/ 2590918 h 3244365"/>
                  <a:gd name="connsiteX10" fmla="*/ 23749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27201 w 2425896"/>
                  <a:gd name="connsiteY4" fmla="*/ 1238368 h 3244365"/>
                  <a:gd name="connsiteX5" fmla="*/ 2184401 w 2425896"/>
                  <a:gd name="connsiteY5" fmla="*/ 1857493 h 3244365"/>
                  <a:gd name="connsiteX6" fmla="*/ 1822451 w 2425896"/>
                  <a:gd name="connsiteY6" fmla="*/ 2524243 h 3244365"/>
                  <a:gd name="connsiteX7" fmla="*/ 1993901 w 2425896"/>
                  <a:gd name="connsiteY7" fmla="*/ 3210043 h 3244365"/>
                  <a:gd name="connsiteX8" fmla="*/ 2425701 w 2425896"/>
                  <a:gd name="connsiteY8" fmla="*/ 3032243 h 3244365"/>
                  <a:gd name="connsiteX9" fmla="*/ 2051051 w 2425896"/>
                  <a:gd name="connsiteY9" fmla="*/ 2590918 h 3244365"/>
                  <a:gd name="connsiteX10" fmla="*/ 23749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27201 w 2425896"/>
                  <a:gd name="connsiteY4" fmla="*/ 1238368 h 3244365"/>
                  <a:gd name="connsiteX5" fmla="*/ 2184401 w 2425896"/>
                  <a:gd name="connsiteY5" fmla="*/ 1857493 h 3244365"/>
                  <a:gd name="connsiteX6" fmla="*/ 1822451 w 2425896"/>
                  <a:gd name="connsiteY6" fmla="*/ 2524243 h 3244365"/>
                  <a:gd name="connsiteX7" fmla="*/ 1993901 w 2425896"/>
                  <a:gd name="connsiteY7" fmla="*/ 3210043 h 3244365"/>
                  <a:gd name="connsiteX8" fmla="*/ 2425701 w 2425896"/>
                  <a:gd name="connsiteY8" fmla="*/ 3032243 h 3244365"/>
                  <a:gd name="connsiteX9" fmla="*/ 2051051 w 2425896"/>
                  <a:gd name="connsiteY9" fmla="*/ 2590918 h 3244365"/>
                  <a:gd name="connsiteX10" fmla="*/ 23749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27201 w 2425896"/>
                  <a:gd name="connsiteY4" fmla="*/ 1238368 h 3244365"/>
                  <a:gd name="connsiteX5" fmla="*/ 2184401 w 2425896"/>
                  <a:gd name="connsiteY5" fmla="*/ 1857493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90918 h 3244365"/>
                  <a:gd name="connsiteX10" fmla="*/ 23749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27201 w 2425896"/>
                  <a:gd name="connsiteY4" fmla="*/ 1238368 h 3244365"/>
                  <a:gd name="connsiteX5" fmla="*/ 2184401 w 2425896"/>
                  <a:gd name="connsiteY5" fmla="*/ 1857493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749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27201 w 2425896"/>
                  <a:gd name="connsiteY4" fmla="*/ 1238368 h 3244365"/>
                  <a:gd name="connsiteX5" fmla="*/ 2200276 w 2425896"/>
                  <a:gd name="connsiteY5" fmla="*/ 1908293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749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27201 w 2425896"/>
                  <a:gd name="connsiteY4" fmla="*/ 1238368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749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27201 w 2425896"/>
                  <a:gd name="connsiteY4" fmla="*/ 1238368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962151 w 2425896"/>
                  <a:gd name="connsiteY11" fmla="*/ 133044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962151 w 2425896"/>
                  <a:gd name="connsiteY11" fmla="*/ 1330443 h 3244365"/>
                  <a:gd name="connsiteX12" fmla="*/ 1257301 w 2425896"/>
                  <a:gd name="connsiteY12" fmla="*/ 9875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962151 w 2425896"/>
                  <a:gd name="connsiteY11" fmla="*/ 1330443 h 3244365"/>
                  <a:gd name="connsiteX12" fmla="*/ 1257301 w 2425896"/>
                  <a:gd name="connsiteY12" fmla="*/ 9875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962151 w 2425896"/>
                  <a:gd name="connsiteY11" fmla="*/ 1330443 h 3244365"/>
                  <a:gd name="connsiteX12" fmla="*/ 1257301 w 2425896"/>
                  <a:gd name="connsiteY12" fmla="*/ 9875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885951 w 2425896"/>
                  <a:gd name="connsiteY11" fmla="*/ 1333618 h 3244365"/>
                  <a:gd name="connsiteX12" fmla="*/ 1257301 w 2425896"/>
                  <a:gd name="connsiteY12" fmla="*/ 9875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885951 w 2425896"/>
                  <a:gd name="connsiteY11" fmla="*/ 1333618 h 3244365"/>
                  <a:gd name="connsiteX12" fmla="*/ 1212851 w 2425896"/>
                  <a:gd name="connsiteY12" fmla="*/ 1003418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885951 w 2425896"/>
                  <a:gd name="connsiteY11" fmla="*/ 1333618 h 3244365"/>
                  <a:gd name="connsiteX12" fmla="*/ 1212851 w 2425896"/>
                  <a:gd name="connsiteY12" fmla="*/ 1003418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885951 w 2425896"/>
                  <a:gd name="connsiteY11" fmla="*/ 1333618 h 3244365"/>
                  <a:gd name="connsiteX12" fmla="*/ 1212851 w 2425896"/>
                  <a:gd name="connsiteY12" fmla="*/ 1003418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885951 w 2425896"/>
                  <a:gd name="connsiteY11" fmla="*/ 1333618 h 3244365"/>
                  <a:gd name="connsiteX12" fmla="*/ 1212851 w 2425896"/>
                  <a:gd name="connsiteY12" fmla="*/ 1003418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90878 w 2442123"/>
                  <a:gd name="connsiteY0" fmla="*/ 118 h 3244365"/>
                  <a:gd name="connsiteX1" fmla="*/ 114653 w 2442123"/>
                  <a:gd name="connsiteY1" fmla="*/ 247768 h 3244365"/>
                  <a:gd name="connsiteX2" fmla="*/ 76553 w 2442123"/>
                  <a:gd name="connsiteY2" fmla="*/ 676393 h 3244365"/>
                  <a:gd name="connsiteX3" fmla="*/ 1124303 w 2442123"/>
                  <a:gd name="connsiteY3" fmla="*/ 1124068 h 3244365"/>
                  <a:gd name="connsiteX4" fmla="*/ 1803753 w 2442123"/>
                  <a:gd name="connsiteY4" fmla="*/ 1451093 h 3244365"/>
                  <a:gd name="connsiteX5" fmla="*/ 2156178 w 2442123"/>
                  <a:gd name="connsiteY5" fmla="*/ 1917818 h 3244365"/>
                  <a:gd name="connsiteX6" fmla="*/ 1845028 w 2442123"/>
                  <a:gd name="connsiteY6" fmla="*/ 2571868 h 3244365"/>
                  <a:gd name="connsiteX7" fmla="*/ 2010128 w 2442123"/>
                  <a:gd name="connsiteY7" fmla="*/ 3210043 h 3244365"/>
                  <a:gd name="connsiteX8" fmla="*/ 2441928 w 2442123"/>
                  <a:gd name="connsiteY8" fmla="*/ 3032243 h 3244365"/>
                  <a:gd name="connsiteX9" fmla="*/ 2067278 w 2442123"/>
                  <a:gd name="connsiteY9" fmla="*/ 2568693 h 3244365"/>
                  <a:gd name="connsiteX10" fmla="*/ 2327628 w 2442123"/>
                  <a:gd name="connsiteY10" fmla="*/ 1914643 h 3244365"/>
                  <a:gd name="connsiteX11" fmla="*/ 1902178 w 2442123"/>
                  <a:gd name="connsiteY11" fmla="*/ 1333618 h 3244365"/>
                  <a:gd name="connsiteX12" fmla="*/ 1229078 w 2442123"/>
                  <a:gd name="connsiteY12" fmla="*/ 1003418 h 3244365"/>
                  <a:gd name="connsiteX13" fmla="*/ 352778 w 2442123"/>
                  <a:gd name="connsiteY13" fmla="*/ 666868 h 3244365"/>
                  <a:gd name="connsiteX14" fmla="*/ 267053 w 2442123"/>
                  <a:gd name="connsiteY14" fmla="*/ 276343 h 3244365"/>
                  <a:gd name="connsiteX15" fmla="*/ 390878 w 2442123"/>
                  <a:gd name="connsiteY15" fmla="*/ 118 h 3244365"/>
                  <a:gd name="connsiteX0" fmla="*/ 390878 w 2442123"/>
                  <a:gd name="connsiteY0" fmla="*/ 118 h 3244365"/>
                  <a:gd name="connsiteX1" fmla="*/ 114653 w 2442123"/>
                  <a:gd name="connsiteY1" fmla="*/ 247768 h 3244365"/>
                  <a:gd name="connsiteX2" fmla="*/ 76553 w 2442123"/>
                  <a:gd name="connsiteY2" fmla="*/ 676393 h 3244365"/>
                  <a:gd name="connsiteX3" fmla="*/ 1124303 w 2442123"/>
                  <a:gd name="connsiteY3" fmla="*/ 1124068 h 3244365"/>
                  <a:gd name="connsiteX4" fmla="*/ 1803753 w 2442123"/>
                  <a:gd name="connsiteY4" fmla="*/ 1451093 h 3244365"/>
                  <a:gd name="connsiteX5" fmla="*/ 2156178 w 2442123"/>
                  <a:gd name="connsiteY5" fmla="*/ 1917818 h 3244365"/>
                  <a:gd name="connsiteX6" fmla="*/ 1845028 w 2442123"/>
                  <a:gd name="connsiteY6" fmla="*/ 2571868 h 3244365"/>
                  <a:gd name="connsiteX7" fmla="*/ 2010128 w 2442123"/>
                  <a:gd name="connsiteY7" fmla="*/ 3210043 h 3244365"/>
                  <a:gd name="connsiteX8" fmla="*/ 2441928 w 2442123"/>
                  <a:gd name="connsiteY8" fmla="*/ 3032243 h 3244365"/>
                  <a:gd name="connsiteX9" fmla="*/ 2067278 w 2442123"/>
                  <a:gd name="connsiteY9" fmla="*/ 2568693 h 3244365"/>
                  <a:gd name="connsiteX10" fmla="*/ 2327628 w 2442123"/>
                  <a:gd name="connsiteY10" fmla="*/ 1914643 h 3244365"/>
                  <a:gd name="connsiteX11" fmla="*/ 1902178 w 2442123"/>
                  <a:gd name="connsiteY11" fmla="*/ 1333618 h 3244365"/>
                  <a:gd name="connsiteX12" fmla="*/ 1205265 w 2442123"/>
                  <a:gd name="connsiteY12" fmla="*/ 1003418 h 3244365"/>
                  <a:gd name="connsiteX13" fmla="*/ 352778 w 2442123"/>
                  <a:gd name="connsiteY13" fmla="*/ 666868 h 3244365"/>
                  <a:gd name="connsiteX14" fmla="*/ 267053 w 2442123"/>
                  <a:gd name="connsiteY14" fmla="*/ 276343 h 3244365"/>
                  <a:gd name="connsiteX15" fmla="*/ 390878 w 2442123"/>
                  <a:gd name="connsiteY15" fmla="*/ 118 h 3244365"/>
                  <a:gd name="connsiteX0" fmla="*/ 390878 w 2442123"/>
                  <a:gd name="connsiteY0" fmla="*/ 118 h 3244365"/>
                  <a:gd name="connsiteX1" fmla="*/ 114653 w 2442123"/>
                  <a:gd name="connsiteY1" fmla="*/ 247768 h 3244365"/>
                  <a:gd name="connsiteX2" fmla="*/ 76553 w 2442123"/>
                  <a:gd name="connsiteY2" fmla="*/ 676393 h 3244365"/>
                  <a:gd name="connsiteX3" fmla="*/ 1124303 w 2442123"/>
                  <a:gd name="connsiteY3" fmla="*/ 1124068 h 3244365"/>
                  <a:gd name="connsiteX4" fmla="*/ 1803753 w 2442123"/>
                  <a:gd name="connsiteY4" fmla="*/ 1451093 h 3244365"/>
                  <a:gd name="connsiteX5" fmla="*/ 2156178 w 2442123"/>
                  <a:gd name="connsiteY5" fmla="*/ 1917818 h 3244365"/>
                  <a:gd name="connsiteX6" fmla="*/ 1845028 w 2442123"/>
                  <a:gd name="connsiteY6" fmla="*/ 2571868 h 3244365"/>
                  <a:gd name="connsiteX7" fmla="*/ 2010128 w 2442123"/>
                  <a:gd name="connsiteY7" fmla="*/ 3210043 h 3244365"/>
                  <a:gd name="connsiteX8" fmla="*/ 2441928 w 2442123"/>
                  <a:gd name="connsiteY8" fmla="*/ 3032243 h 3244365"/>
                  <a:gd name="connsiteX9" fmla="*/ 2067278 w 2442123"/>
                  <a:gd name="connsiteY9" fmla="*/ 2568693 h 3244365"/>
                  <a:gd name="connsiteX10" fmla="*/ 2327628 w 2442123"/>
                  <a:gd name="connsiteY10" fmla="*/ 1914643 h 3244365"/>
                  <a:gd name="connsiteX11" fmla="*/ 1902178 w 2442123"/>
                  <a:gd name="connsiteY11" fmla="*/ 1333618 h 3244365"/>
                  <a:gd name="connsiteX12" fmla="*/ 1205265 w 2442123"/>
                  <a:gd name="connsiteY12" fmla="*/ 1003418 h 3244365"/>
                  <a:gd name="connsiteX13" fmla="*/ 352778 w 2442123"/>
                  <a:gd name="connsiteY13" fmla="*/ 666868 h 3244365"/>
                  <a:gd name="connsiteX14" fmla="*/ 267053 w 2442123"/>
                  <a:gd name="connsiteY14" fmla="*/ 276343 h 3244365"/>
                  <a:gd name="connsiteX15" fmla="*/ 390878 w 2442123"/>
                  <a:gd name="connsiteY15" fmla="*/ 118 h 3244365"/>
                  <a:gd name="connsiteX0" fmla="*/ 390878 w 2442123"/>
                  <a:gd name="connsiteY0" fmla="*/ 118 h 3244365"/>
                  <a:gd name="connsiteX1" fmla="*/ 114653 w 2442123"/>
                  <a:gd name="connsiteY1" fmla="*/ 247768 h 3244365"/>
                  <a:gd name="connsiteX2" fmla="*/ 76553 w 2442123"/>
                  <a:gd name="connsiteY2" fmla="*/ 676393 h 3244365"/>
                  <a:gd name="connsiteX3" fmla="*/ 1124303 w 2442123"/>
                  <a:gd name="connsiteY3" fmla="*/ 1124068 h 3244365"/>
                  <a:gd name="connsiteX4" fmla="*/ 1803753 w 2442123"/>
                  <a:gd name="connsiteY4" fmla="*/ 1451093 h 3244365"/>
                  <a:gd name="connsiteX5" fmla="*/ 2156178 w 2442123"/>
                  <a:gd name="connsiteY5" fmla="*/ 1917818 h 3244365"/>
                  <a:gd name="connsiteX6" fmla="*/ 1845028 w 2442123"/>
                  <a:gd name="connsiteY6" fmla="*/ 2571868 h 3244365"/>
                  <a:gd name="connsiteX7" fmla="*/ 2010128 w 2442123"/>
                  <a:gd name="connsiteY7" fmla="*/ 3210043 h 3244365"/>
                  <a:gd name="connsiteX8" fmla="*/ 2441928 w 2442123"/>
                  <a:gd name="connsiteY8" fmla="*/ 3032243 h 3244365"/>
                  <a:gd name="connsiteX9" fmla="*/ 2067278 w 2442123"/>
                  <a:gd name="connsiteY9" fmla="*/ 2568693 h 3244365"/>
                  <a:gd name="connsiteX10" fmla="*/ 2327628 w 2442123"/>
                  <a:gd name="connsiteY10" fmla="*/ 1914643 h 3244365"/>
                  <a:gd name="connsiteX11" fmla="*/ 1902178 w 2442123"/>
                  <a:gd name="connsiteY11" fmla="*/ 1333618 h 3244365"/>
                  <a:gd name="connsiteX12" fmla="*/ 1205265 w 2442123"/>
                  <a:gd name="connsiteY12" fmla="*/ 1003418 h 3244365"/>
                  <a:gd name="connsiteX13" fmla="*/ 352778 w 2442123"/>
                  <a:gd name="connsiteY13" fmla="*/ 666868 h 3244365"/>
                  <a:gd name="connsiteX14" fmla="*/ 267053 w 2442123"/>
                  <a:gd name="connsiteY14" fmla="*/ 276343 h 3244365"/>
                  <a:gd name="connsiteX15" fmla="*/ 390878 w 2442123"/>
                  <a:gd name="connsiteY15" fmla="*/ 118 h 3244365"/>
                  <a:gd name="connsiteX0" fmla="*/ 390878 w 2442123"/>
                  <a:gd name="connsiteY0" fmla="*/ 118 h 3244365"/>
                  <a:gd name="connsiteX1" fmla="*/ 114653 w 2442123"/>
                  <a:gd name="connsiteY1" fmla="*/ 247768 h 3244365"/>
                  <a:gd name="connsiteX2" fmla="*/ 76553 w 2442123"/>
                  <a:gd name="connsiteY2" fmla="*/ 676393 h 3244365"/>
                  <a:gd name="connsiteX3" fmla="*/ 1124303 w 2442123"/>
                  <a:gd name="connsiteY3" fmla="*/ 1124068 h 3244365"/>
                  <a:gd name="connsiteX4" fmla="*/ 1803753 w 2442123"/>
                  <a:gd name="connsiteY4" fmla="*/ 1451093 h 3244365"/>
                  <a:gd name="connsiteX5" fmla="*/ 2156178 w 2442123"/>
                  <a:gd name="connsiteY5" fmla="*/ 1917818 h 3244365"/>
                  <a:gd name="connsiteX6" fmla="*/ 1845028 w 2442123"/>
                  <a:gd name="connsiteY6" fmla="*/ 2571868 h 3244365"/>
                  <a:gd name="connsiteX7" fmla="*/ 2010128 w 2442123"/>
                  <a:gd name="connsiteY7" fmla="*/ 3210043 h 3244365"/>
                  <a:gd name="connsiteX8" fmla="*/ 2441928 w 2442123"/>
                  <a:gd name="connsiteY8" fmla="*/ 3032243 h 3244365"/>
                  <a:gd name="connsiteX9" fmla="*/ 2067278 w 2442123"/>
                  <a:gd name="connsiteY9" fmla="*/ 2568693 h 3244365"/>
                  <a:gd name="connsiteX10" fmla="*/ 2327628 w 2442123"/>
                  <a:gd name="connsiteY10" fmla="*/ 1914643 h 3244365"/>
                  <a:gd name="connsiteX11" fmla="*/ 1902178 w 2442123"/>
                  <a:gd name="connsiteY11" fmla="*/ 1333618 h 3244365"/>
                  <a:gd name="connsiteX12" fmla="*/ 1205265 w 2442123"/>
                  <a:gd name="connsiteY12" fmla="*/ 1003418 h 3244365"/>
                  <a:gd name="connsiteX13" fmla="*/ 281340 w 2442123"/>
                  <a:gd name="connsiteY13" fmla="*/ 628768 h 3244365"/>
                  <a:gd name="connsiteX14" fmla="*/ 267053 w 2442123"/>
                  <a:gd name="connsiteY14" fmla="*/ 276343 h 3244365"/>
                  <a:gd name="connsiteX15" fmla="*/ 390878 w 2442123"/>
                  <a:gd name="connsiteY15" fmla="*/ 118 h 3244365"/>
                  <a:gd name="connsiteX0" fmla="*/ 420529 w 2443199"/>
                  <a:gd name="connsiteY0" fmla="*/ 112 h 3253884"/>
                  <a:gd name="connsiteX1" fmla="*/ 115729 w 2443199"/>
                  <a:gd name="connsiteY1" fmla="*/ 257287 h 3253884"/>
                  <a:gd name="connsiteX2" fmla="*/ 77629 w 2443199"/>
                  <a:gd name="connsiteY2" fmla="*/ 685912 h 3253884"/>
                  <a:gd name="connsiteX3" fmla="*/ 1125379 w 2443199"/>
                  <a:gd name="connsiteY3" fmla="*/ 1133587 h 3253884"/>
                  <a:gd name="connsiteX4" fmla="*/ 1804829 w 2443199"/>
                  <a:gd name="connsiteY4" fmla="*/ 1460612 h 3253884"/>
                  <a:gd name="connsiteX5" fmla="*/ 2157254 w 2443199"/>
                  <a:gd name="connsiteY5" fmla="*/ 1927337 h 3253884"/>
                  <a:gd name="connsiteX6" fmla="*/ 1846104 w 2443199"/>
                  <a:gd name="connsiteY6" fmla="*/ 2581387 h 3253884"/>
                  <a:gd name="connsiteX7" fmla="*/ 2011204 w 2443199"/>
                  <a:gd name="connsiteY7" fmla="*/ 3219562 h 3253884"/>
                  <a:gd name="connsiteX8" fmla="*/ 2443004 w 2443199"/>
                  <a:gd name="connsiteY8" fmla="*/ 3041762 h 3253884"/>
                  <a:gd name="connsiteX9" fmla="*/ 2068354 w 2443199"/>
                  <a:gd name="connsiteY9" fmla="*/ 2578212 h 3253884"/>
                  <a:gd name="connsiteX10" fmla="*/ 2328704 w 2443199"/>
                  <a:gd name="connsiteY10" fmla="*/ 1924162 h 3253884"/>
                  <a:gd name="connsiteX11" fmla="*/ 1903254 w 2443199"/>
                  <a:gd name="connsiteY11" fmla="*/ 1343137 h 3253884"/>
                  <a:gd name="connsiteX12" fmla="*/ 1206341 w 2443199"/>
                  <a:gd name="connsiteY12" fmla="*/ 1012937 h 3253884"/>
                  <a:gd name="connsiteX13" fmla="*/ 282416 w 2443199"/>
                  <a:gd name="connsiteY13" fmla="*/ 638287 h 3253884"/>
                  <a:gd name="connsiteX14" fmla="*/ 268129 w 2443199"/>
                  <a:gd name="connsiteY14" fmla="*/ 285862 h 3253884"/>
                  <a:gd name="connsiteX15" fmla="*/ 420529 w 2443199"/>
                  <a:gd name="connsiteY15" fmla="*/ 112 h 3253884"/>
                  <a:gd name="connsiteX0" fmla="*/ 420529 w 2443199"/>
                  <a:gd name="connsiteY0" fmla="*/ 112 h 3253884"/>
                  <a:gd name="connsiteX1" fmla="*/ 115729 w 2443199"/>
                  <a:gd name="connsiteY1" fmla="*/ 257287 h 3253884"/>
                  <a:gd name="connsiteX2" fmla="*/ 77629 w 2443199"/>
                  <a:gd name="connsiteY2" fmla="*/ 685912 h 3253884"/>
                  <a:gd name="connsiteX3" fmla="*/ 1125379 w 2443199"/>
                  <a:gd name="connsiteY3" fmla="*/ 1133587 h 3253884"/>
                  <a:gd name="connsiteX4" fmla="*/ 1804829 w 2443199"/>
                  <a:gd name="connsiteY4" fmla="*/ 1460612 h 3253884"/>
                  <a:gd name="connsiteX5" fmla="*/ 2157254 w 2443199"/>
                  <a:gd name="connsiteY5" fmla="*/ 1927337 h 3253884"/>
                  <a:gd name="connsiteX6" fmla="*/ 1846104 w 2443199"/>
                  <a:gd name="connsiteY6" fmla="*/ 2581387 h 3253884"/>
                  <a:gd name="connsiteX7" fmla="*/ 2011204 w 2443199"/>
                  <a:gd name="connsiteY7" fmla="*/ 3219562 h 3253884"/>
                  <a:gd name="connsiteX8" fmla="*/ 2443004 w 2443199"/>
                  <a:gd name="connsiteY8" fmla="*/ 3041762 h 3253884"/>
                  <a:gd name="connsiteX9" fmla="*/ 2068354 w 2443199"/>
                  <a:gd name="connsiteY9" fmla="*/ 2578212 h 3253884"/>
                  <a:gd name="connsiteX10" fmla="*/ 2328704 w 2443199"/>
                  <a:gd name="connsiteY10" fmla="*/ 1924162 h 3253884"/>
                  <a:gd name="connsiteX11" fmla="*/ 1903254 w 2443199"/>
                  <a:gd name="connsiteY11" fmla="*/ 1343137 h 3253884"/>
                  <a:gd name="connsiteX12" fmla="*/ 1206341 w 2443199"/>
                  <a:gd name="connsiteY12" fmla="*/ 1012937 h 3253884"/>
                  <a:gd name="connsiteX13" fmla="*/ 282416 w 2443199"/>
                  <a:gd name="connsiteY13" fmla="*/ 638287 h 3253884"/>
                  <a:gd name="connsiteX14" fmla="*/ 268129 w 2443199"/>
                  <a:gd name="connsiteY14" fmla="*/ 285862 h 3253884"/>
                  <a:gd name="connsiteX15" fmla="*/ 420529 w 2443199"/>
                  <a:gd name="connsiteY15" fmla="*/ 112 h 3253884"/>
                  <a:gd name="connsiteX0" fmla="*/ 509609 w 2446554"/>
                  <a:gd name="connsiteY0" fmla="*/ 109 h 3258644"/>
                  <a:gd name="connsiteX1" fmla="*/ 119084 w 2446554"/>
                  <a:gd name="connsiteY1" fmla="*/ 262047 h 3258644"/>
                  <a:gd name="connsiteX2" fmla="*/ 80984 w 2446554"/>
                  <a:gd name="connsiteY2" fmla="*/ 690672 h 3258644"/>
                  <a:gd name="connsiteX3" fmla="*/ 1128734 w 2446554"/>
                  <a:gd name="connsiteY3" fmla="*/ 1138347 h 3258644"/>
                  <a:gd name="connsiteX4" fmla="*/ 1808184 w 2446554"/>
                  <a:gd name="connsiteY4" fmla="*/ 1465372 h 3258644"/>
                  <a:gd name="connsiteX5" fmla="*/ 2160609 w 2446554"/>
                  <a:gd name="connsiteY5" fmla="*/ 1932097 h 3258644"/>
                  <a:gd name="connsiteX6" fmla="*/ 1849459 w 2446554"/>
                  <a:gd name="connsiteY6" fmla="*/ 2586147 h 3258644"/>
                  <a:gd name="connsiteX7" fmla="*/ 2014559 w 2446554"/>
                  <a:gd name="connsiteY7" fmla="*/ 3224322 h 3258644"/>
                  <a:gd name="connsiteX8" fmla="*/ 2446359 w 2446554"/>
                  <a:gd name="connsiteY8" fmla="*/ 3046522 h 3258644"/>
                  <a:gd name="connsiteX9" fmla="*/ 2071709 w 2446554"/>
                  <a:gd name="connsiteY9" fmla="*/ 2582972 h 3258644"/>
                  <a:gd name="connsiteX10" fmla="*/ 2332059 w 2446554"/>
                  <a:gd name="connsiteY10" fmla="*/ 1928922 h 3258644"/>
                  <a:gd name="connsiteX11" fmla="*/ 1906609 w 2446554"/>
                  <a:gd name="connsiteY11" fmla="*/ 1347897 h 3258644"/>
                  <a:gd name="connsiteX12" fmla="*/ 1209696 w 2446554"/>
                  <a:gd name="connsiteY12" fmla="*/ 1017697 h 3258644"/>
                  <a:gd name="connsiteX13" fmla="*/ 285771 w 2446554"/>
                  <a:gd name="connsiteY13" fmla="*/ 643047 h 3258644"/>
                  <a:gd name="connsiteX14" fmla="*/ 271484 w 2446554"/>
                  <a:gd name="connsiteY14" fmla="*/ 290622 h 3258644"/>
                  <a:gd name="connsiteX15" fmla="*/ 509609 w 2446554"/>
                  <a:gd name="connsiteY15" fmla="*/ 109 h 3258644"/>
                  <a:gd name="connsiteX0" fmla="*/ 501529 w 2438474"/>
                  <a:gd name="connsiteY0" fmla="*/ 203 h 3258738"/>
                  <a:gd name="connsiteX1" fmla="*/ 134816 w 2438474"/>
                  <a:gd name="connsiteY1" fmla="*/ 252616 h 3258738"/>
                  <a:gd name="connsiteX2" fmla="*/ 72904 w 2438474"/>
                  <a:gd name="connsiteY2" fmla="*/ 690766 h 3258738"/>
                  <a:gd name="connsiteX3" fmla="*/ 1120654 w 2438474"/>
                  <a:gd name="connsiteY3" fmla="*/ 1138441 h 3258738"/>
                  <a:gd name="connsiteX4" fmla="*/ 1800104 w 2438474"/>
                  <a:gd name="connsiteY4" fmla="*/ 1465466 h 3258738"/>
                  <a:gd name="connsiteX5" fmla="*/ 2152529 w 2438474"/>
                  <a:gd name="connsiteY5" fmla="*/ 1932191 h 3258738"/>
                  <a:gd name="connsiteX6" fmla="*/ 1841379 w 2438474"/>
                  <a:gd name="connsiteY6" fmla="*/ 2586241 h 3258738"/>
                  <a:gd name="connsiteX7" fmla="*/ 2006479 w 2438474"/>
                  <a:gd name="connsiteY7" fmla="*/ 3224416 h 3258738"/>
                  <a:gd name="connsiteX8" fmla="*/ 2438279 w 2438474"/>
                  <a:gd name="connsiteY8" fmla="*/ 3046616 h 3258738"/>
                  <a:gd name="connsiteX9" fmla="*/ 2063629 w 2438474"/>
                  <a:gd name="connsiteY9" fmla="*/ 2583066 h 3258738"/>
                  <a:gd name="connsiteX10" fmla="*/ 2323979 w 2438474"/>
                  <a:gd name="connsiteY10" fmla="*/ 1929016 h 3258738"/>
                  <a:gd name="connsiteX11" fmla="*/ 1898529 w 2438474"/>
                  <a:gd name="connsiteY11" fmla="*/ 1347991 h 3258738"/>
                  <a:gd name="connsiteX12" fmla="*/ 1201616 w 2438474"/>
                  <a:gd name="connsiteY12" fmla="*/ 1017791 h 3258738"/>
                  <a:gd name="connsiteX13" fmla="*/ 277691 w 2438474"/>
                  <a:gd name="connsiteY13" fmla="*/ 643141 h 3258738"/>
                  <a:gd name="connsiteX14" fmla="*/ 263404 w 2438474"/>
                  <a:gd name="connsiteY14" fmla="*/ 290716 h 3258738"/>
                  <a:gd name="connsiteX15" fmla="*/ 501529 w 2438474"/>
                  <a:gd name="connsiteY15" fmla="*/ 203 h 3258738"/>
                  <a:gd name="connsiteX0" fmla="*/ 506838 w 2443783"/>
                  <a:gd name="connsiteY0" fmla="*/ 203 h 3258738"/>
                  <a:gd name="connsiteX1" fmla="*/ 140125 w 2443783"/>
                  <a:gd name="connsiteY1" fmla="*/ 252616 h 3258738"/>
                  <a:gd name="connsiteX2" fmla="*/ 78213 w 2443783"/>
                  <a:gd name="connsiteY2" fmla="*/ 690766 h 3258738"/>
                  <a:gd name="connsiteX3" fmla="*/ 1125963 w 2443783"/>
                  <a:gd name="connsiteY3" fmla="*/ 1138441 h 3258738"/>
                  <a:gd name="connsiteX4" fmla="*/ 1805413 w 2443783"/>
                  <a:gd name="connsiteY4" fmla="*/ 1465466 h 3258738"/>
                  <a:gd name="connsiteX5" fmla="*/ 2157838 w 2443783"/>
                  <a:gd name="connsiteY5" fmla="*/ 1932191 h 3258738"/>
                  <a:gd name="connsiteX6" fmla="*/ 1846688 w 2443783"/>
                  <a:gd name="connsiteY6" fmla="*/ 2586241 h 3258738"/>
                  <a:gd name="connsiteX7" fmla="*/ 2011788 w 2443783"/>
                  <a:gd name="connsiteY7" fmla="*/ 3224416 h 3258738"/>
                  <a:gd name="connsiteX8" fmla="*/ 2443588 w 2443783"/>
                  <a:gd name="connsiteY8" fmla="*/ 3046616 h 3258738"/>
                  <a:gd name="connsiteX9" fmla="*/ 2068938 w 2443783"/>
                  <a:gd name="connsiteY9" fmla="*/ 2583066 h 3258738"/>
                  <a:gd name="connsiteX10" fmla="*/ 2329288 w 2443783"/>
                  <a:gd name="connsiteY10" fmla="*/ 1929016 h 3258738"/>
                  <a:gd name="connsiteX11" fmla="*/ 1903838 w 2443783"/>
                  <a:gd name="connsiteY11" fmla="*/ 1347991 h 3258738"/>
                  <a:gd name="connsiteX12" fmla="*/ 1206925 w 2443783"/>
                  <a:gd name="connsiteY12" fmla="*/ 1017791 h 3258738"/>
                  <a:gd name="connsiteX13" fmla="*/ 283000 w 2443783"/>
                  <a:gd name="connsiteY13" fmla="*/ 643141 h 3258738"/>
                  <a:gd name="connsiteX14" fmla="*/ 268713 w 2443783"/>
                  <a:gd name="connsiteY14" fmla="*/ 290716 h 3258738"/>
                  <a:gd name="connsiteX15" fmla="*/ 506838 w 2443783"/>
                  <a:gd name="connsiteY15" fmla="*/ 203 h 3258738"/>
                  <a:gd name="connsiteX0" fmla="*/ 506838 w 2443783"/>
                  <a:gd name="connsiteY0" fmla="*/ 203 h 3258738"/>
                  <a:gd name="connsiteX1" fmla="*/ 140125 w 2443783"/>
                  <a:gd name="connsiteY1" fmla="*/ 252616 h 3258738"/>
                  <a:gd name="connsiteX2" fmla="*/ 78213 w 2443783"/>
                  <a:gd name="connsiteY2" fmla="*/ 690766 h 3258738"/>
                  <a:gd name="connsiteX3" fmla="*/ 1125963 w 2443783"/>
                  <a:gd name="connsiteY3" fmla="*/ 1138441 h 3258738"/>
                  <a:gd name="connsiteX4" fmla="*/ 1805413 w 2443783"/>
                  <a:gd name="connsiteY4" fmla="*/ 1465466 h 3258738"/>
                  <a:gd name="connsiteX5" fmla="*/ 2157838 w 2443783"/>
                  <a:gd name="connsiteY5" fmla="*/ 1932191 h 3258738"/>
                  <a:gd name="connsiteX6" fmla="*/ 1846688 w 2443783"/>
                  <a:gd name="connsiteY6" fmla="*/ 2586241 h 3258738"/>
                  <a:gd name="connsiteX7" fmla="*/ 2011788 w 2443783"/>
                  <a:gd name="connsiteY7" fmla="*/ 3224416 h 3258738"/>
                  <a:gd name="connsiteX8" fmla="*/ 2443588 w 2443783"/>
                  <a:gd name="connsiteY8" fmla="*/ 3046616 h 3258738"/>
                  <a:gd name="connsiteX9" fmla="*/ 2068938 w 2443783"/>
                  <a:gd name="connsiteY9" fmla="*/ 2583066 h 3258738"/>
                  <a:gd name="connsiteX10" fmla="*/ 2329288 w 2443783"/>
                  <a:gd name="connsiteY10" fmla="*/ 1929016 h 3258738"/>
                  <a:gd name="connsiteX11" fmla="*/ 1903838 w 2443783"/>
                  <a:gd name="connsiteY11" fmla="*/ 1347991 h 3258738"/>
                  <a:gd name="connsiteX12" fmla="*/ 1206925 w 2443783"/>
                  <a:gd name="connsiteY12" fmla="*/ 1017791 h 3258738"/>
                  <a:gd name="connsiteX13" fmla="*/ 283000 w 2443783"/>
                  <a:gd name="connsiteY13" fmla="*/ 643141 h 3258738"/>
                  <a:gd name="connsiteX14" fmla="*/ 268713 w 2443783"/>
                  <a:gd name="connsiteY14" fmla="*/ 290716 h 3258738"/>
                  <a:gd name="connsiteX15" fmla="*/ 506838 w 2443783"/>
                  <a:gd name="connsiteY15" fmla="*/ 203 h 3258738"/>
                  <a:gd name="connsiteX0" fmla="*/ 506838 w 2443783"/>
                  <a:gd name="connsiteY0" fmla="*/ 845 h 3259380"/>
                  <a:gd name="connsiteX1" fmla="*/ 140125 w 2443783"/>
                  <a:gd name="connsiteY1" fmla="*/ 253258 h 3259380"/>
                  <a:gd name="connsiteX2" fmla="*/ 78213 w 2443783"/>
                  <a:gd name="connsiteY2" fmla="*/ 691408 h 3259380"/>
                  <a:gd name="connsiteX3" fmla="*/ 1125963 w 2443783"/>
                  <a:gd name="connsiteY3" fmla="*/ 1139083 h 3259380"/>
                  <a:gd name="connsiteX4" fmla="*/ 1805413 w 2443783"/>
                  <a:gd name="connsiteY4" fmla="*/ 1466108 h 3259380"/>
                  <a:gd name="connsiteX5" fmla="*/ 2157838 w 2443783"/>
                  <a:gd name="connsiteY5" fmla="*/ 1932833 h 3259380"/>
                  <a:gd name="connsiteX6" fmla="*/ 1846688 w 2443783"/>
                  <a:gd name="connsiteY6" fmla="*/ 2586883 h 3259380"/>
                  <a:gd name="connsiteX7" fmla="*/ 2011788 w 2443783"/>
                  <a:gd name="connsiteY7" fmla="*/ 3225058 h 3259380"/>
                  <a:gd name="connsiteX8" fmla="*/ 2443588 w 2443783"/>
                  <a:gd name="connsiteY8" fmla="*/ 3047258 h 3259380"/>
                  <a:gd name="connsiteX9" fmla="*/ 2068938 w 2443783"/>
                  <a:gd name="connsiteY9" fmla="*/ 2583708 h 3259380"/>
                  <a:gd name="connsiteX10" fmla="*/ 2329288 w 2443783"/>
                  <a:gd name="connsiteY10" fmla="*/ 1929658 h 3259380"/>
                  <a:gd name="connsiteX11" fmla="*/ 1903838 w 2443783"/>
                  <a:gd name="connsiteY11" fmla="*/ 1348633 h 3259380"/>
                  <a:gd name="connsiteX12" fmla="*/ 1206925 w 2443783"/>
                  <a:gd name="connsiteY12" fmla="*/ 1018433 h 3259380"/>
                  <a:gd name="connsiteX13" fmla="*/ 283000 w 2443783"/>
                  <a:gd name="connsiteY13" fmla="*/ 643783 h 3259380"/>
                  <a:gd name="connsiteX14" fmla="*/ 206800 w 2443783"/>
                  <a:gd name="connsiteY14" fmla="*/ 334220 h 3259380"/>
                  <a:gd name="connsiteX15" fmla="*/ 506838 w 2443783"/>
                  <a:gd name="connsiteY15" fmla="*/ 845 h 3259380"/>
                  <a:gd name="connsiteX0" fmla="*/ 509106 w 2446051"/>
                  <a:gd name="connsiteY0" fmla="*/ 845 h 3259380"/>
                  <a:gd name="connsiteX1" fmla="*/ 142393 w 2446051"/>
                  <a:gd name="connsiteY1" fmla="*/ 253258 h 3259380"/>
                  <a:gd name="connsiteX2" fmla="*/ 80481 w 2446051"/>
                  <a:gd name="connsiteY2" fmla="*/ 691408 h 3259380"/>
                  <a:gd name="connsiteX3" fmla="*/ 1128231 w 2446051"/>
                  <a:gd name="connsiteY3" fmla="*/ 1139083 h 3259380"/>
                  <a:gd name="connsiteX4" fmla="*/ 1807681 w 2446051"/>
                  <a:gd name="connsiteY4" fmla="*/ 1466108 h 3259380"/>
                  <a:gd name="connsiteX5" fmla="*/ 2160106 w 2446051"/>
                  <a:gd name="connsiteY5" fmla="*/ 1932833 h 3259380"/>
                  <a:gd name="connsiteX6" fmla="*/ 1848956 w 2446051"/>
                  <a:gd name="connsiteY6" fmla="*/ 2586883 h 3259380"/>
                  <a:gd name="connsiteX7" fmla="*/ 2014056 w 2446051"/>
                  <a:gd name="connsiteY7" fmla="*/ 3225058 h 3259380"/>
                  <a:gd name="connsiteX8" fmla="*/ 2445856 w 2446051"/>
                  <a:gd name="connsiteY8" fmla="*/ 3047258 h 3259380"/>
                  <a:gd name="connsiteX9" fmla="*/ 2071206 w 2446051"/>
                  <a:gd name="connsiteY9" fmla="*/ 2583708 h 3259380"/>
                  <a:gd name="connsiteX10" fmla="*/ 2331556 w 2446051"/>
                  <a:gd name="connsiteY10" fmla="*/ 1929658 h 3259380"/>
                  <a:gd name="connsiteX11" fmla="*/ 1906106 w 2446051"/>
                  <a:gd name="connsiteY11" fmla="*/ 1348633 h 3259380"/>
                  <a:gd name="connsiteX12" fmla="*/ 1209193 w 2446051"/>
                  <a:gd name="connsiteY12" fmla="*/ 1018433 h 3259380"/>
                  <a:gd name="connsiteX13" fmla="*/ 285268 w 2446051"/>
                  <a:gd name="connsiteY13" fmla="*/ 643783 h 3259380"/>
                  <a:gd name="connsiteX14" fmla="*/ 209068 w 2446051"/>
                  <a:gd name="connsiteY14" fmla="*/ 334220 h 3259380"/>
                  <a:gd name="connsiteX15" fmla="*/ 509106 w 2446051"/>
                  <a:gd name="connsiteY15" fmla="*/ 845 h 3259380"/>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01124 w 2441069"/>
                  <a:gd name="connsiteY11" fmla="*/ 1348522 h 3259269"/>
                  <a:gd name="connsiteX12" fmla="*/ 1204211 w 2441069"/>
                  <a:gd name="connsiteY12" fmla="*/ 1018322 h 3259269"/>
                  <a:gd name="connsiteX13" fmla="*/ 280286 w 2441069"/>
                  <a:gd name="connsiteY13" fmla="*/ 643672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01124 w 2441069"/>
                  <a:gd name="connsiteY11" fmla="*/ 1348522 h 3259269"/>
                  <a:gd name="connsiteX12" fmla="*/ 1204211 w 2441069"/>
                  <a:gd name="connsiteY12" fmla="*/ 1018322 h 3259269"/>
                  <a:gd name="connsiteX13" fmla="*/ 280286 w 2441069"/>
                  <a:gd name="connsiteY13" fmla="*/ 643672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01124 w 2441069"/>
                  <a:gd name="connsiteY11" fmla="*/ 1348522 h 3259269"/>
                  <a:gd name="connsiteX12" fmla="*/ 1204211 w 2441069"/>
                  <a:gd name="connsiteY12" fmla="*/ 1018322 h 3259269"/>
                  <a:gd name="connsiteX13" fmla="*/ 280286 w 2441069"/>
                  <a:gd name="connsiteY13" fmla="*/ 643672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01124 w 2441069"/>
                  <a:gd name="connsiteY11" fmla="*/ 1348522 h 3259269"/>
                  <a:gd name="connsiteX12" fmla="*/ 1204211 w 2441069"/>
                  <a:gd name="connsiteY12" fmla="*/ 1018322 h 3259269"/>
                  <a:gd name="connsiteX13" fmla="*/ 242186 w 2441069"/>
                  <a:gd name="connsiteY13" fmla="*/ 619860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01124 w 2441069"/>
                  <a:gd name="connsiteY11" fmla="*/ 1348522 h 3259269"/>
                  <a:gd name="connsiteX12" fmla="*/ 1204211 w 2441069"/>
                  <a:gd name="connsiteY12" fmla="*/ 1018322 h 3259269"/>
                  <a:gd name="connsiteX13" fmla="*/ 208848 w 2441069"/>
                  <a:gd name="connsiteY13" fmla="*/ 6484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01124 w 2441069"/>
                  <a:gd name="connsiteY11" fmla="*/ 1348522 h 3259269"/>
                  <a:gd name="connsiteX12" fmla="*/ 1204211 w 2441069"/>
                  <a:gd name="connsiteY12" fmla="*/ 1018322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01124 w 2441069"/>
                  <a:gd name="connsiteY11" fmla="*/ 1348522 h 3259269"/>
                  <a:gd name="connsiteX12" fmla="*/ 1204211 w 2441069"/>
                  <a:gd name="connsiteY12" fmla="*/ 1018322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01124 w 2441069"/>
                  <a:gd name="connsiteY11" fmla="*/ 1348522 h 3259269"/>
                  <a:gd name="connsiteX12" fmla="*/ 1223261 w 2441069"/>
                  <a:gd name="connsiteY12" fmla="*/ 1018322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96374 w 2441069"/>
                  <a:gd name="connsiteY11" fmla="*/ 1400910 h 3259269"/>
                  <a:gd name="connsiteX12" fmla="*/ 1223261 w 2441069"/>
                  <a:gd name="connsiteY12" fmla="*/ 1018322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72562 w 2441069"/>
                  <a:gd name="connsiteY11" fmla="*/ 1410435 h 3259269"/>
                  <a:gd name="connsiteX12" fmla="*/ 1223261 w 2441069"/>
                  <a:gd name="connsiteY12" fmla="*/ 1018322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72562 w 2441069"/>
                  <a:gd name="connsiteY11" fmla="*/ 1410435 h 3259269"/>
                  <a:gd name="connsiteX12" fmla="*/ 1223261 w 2441069"/>
                  <a:gd name="connsiteY12" fmla="*/ 1018322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72562 w 2441069"/>
                  <a:gd name="connsiteY11" fmla="*/ 1410435 h 3259269"/>
                  <a:gd name="connsiteX12" fmla="*/ 1223261 w 2441069"/>
                  <a:gd name="connsiteY12" fmla="*/ 1018322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72562 w 2441069"/>
                  <a:gd name="connsiteY11" fmla="*/ 1410435 h 3259269"/>
                  <a:gd name="connsiteX12" fmla="*/ 1208973 w 2441069"/>
                  <a:gd name="connsiteY12" fmla="*/ 1032609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72562 w 2441069"/>
                  <a:gd name="connsiteY11" fmla="*/ 1410435 h 3259269"/>
                  <a:gd name="connsiteX12" fmla="*/ 1208973 w 2441069"/>
                  <a:gd name="connsiteY12" fmla="*/ 1032609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72562 w 2441069"/>
                  <a:gd name="connsiteY11" fmla="*/ 1410435 h 3259269"/>
                  <a:gd name="connsiteX12" fmla="*/ 1208973 w 2441069"/>
                  <a:gd name="connsiteY12" fmla="*/ 1032609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481924 w 2418869"/>
                  <a:gd name="connsiteY0" fmla="*/ 734 h 3259269"/>
                  <a:gd name="connsiteX1" fmla="*/ 129499 w 2418869"/>
                  <a:gd name="connsiteY1" fmla="*/ 257909 h 3259269"/>
                  <a:gd name="connsiteX2" fmla="*/ 72349 w 2418869"/>
                  <a:gd name="connsiteY2" fmla="*/ 691297 h 3259269"/>
                  <a:gd name="connsiteX3" fmla="*/ 1101049 w 2418869"/>
                  <a:gd name="connsiteY3" fmla="*/ 1138972 h 3259269"/>
                  <a:gd name="connsiteX4" fmla="*/ 1780499 w 2418869"/>
                  <a:gd name="connsiteY4" fmla="*/ 1465997 h 3259269"/>
                  <a:gd name="connsiteX5" fmla="*/ 2132924 w 2418869"/>
                  <a:gd name="connsiteY5" fmla="*/ 1932722 h 3259269"/>
                  <a:gd name="connsiteX6" fmla="*/ 1821774 w 2418869"/>
                  <a:gd name="connsiteY6" fmla="*/ 2586772 h 3259269"/>
                  <a:gd name="connsiteX7" fmla="*/ 1986874 w 2418869"/>
                  <a:gd name="connsiteY7" fmla="*/ 3224947 h 3259269"/>
                  <a:gd name="connsiteX8" fmla="*/ 2418674 w 2418869"/>
                  <a:gd name="connsiteY8" fmla="*/ 3047147 h 3259269"/>
                  <a:gd name="connsiteX9" fmla="*/ 2044024 w 2418869"/>
                  <a:gd name="connsiteY9" fmla="*/ 2583597 h 3259269"/>
                  <a:gd name="connsiteX10" fmla="*/ 2304374 w 2418869"/>
                  <a:gd name="connsiteY10" fmla="*/ 1929547 h 3259269"/>
                  <a:gd name="connsiteX11" fmla="*/ 1950362 w 2418869"/>
                  <a:gd name="connsiteY11" fmla="*/ 1410435 h 3259269"/>
                  <a:gd name="connsiteX12" fmla="*/ 1186773 w 2418869"/>
                  <a:gd name="connsiteY12" fmla="*/ 1032609 h 3259269"/>
                  <a:gd name="connsiteX13" fmla="*/ 181886 w 2418869"/>
                  <a:gd name="connsiteY13" fmla="*/ 610335 h 3259269"/>
                  <a:gd name="connsiteX14" fmla="*/ 181886 w 2418869"/>
                  <a:gd name="connsiteY14" fmla="*/ 334109 h 3259269"/>
                  <a:gd name="connsiteX15" fmla="*/ 481924 w 2418869"/>
                  <a:gd name="connsiteY15" fmla="*/ 734 h 3259269"/>
                  <a:gd name="connsiteX0" fmla="*/ 485087 w 2422032"/>
                  <a:gd name="connsiteY0" fmla="*/ 714 h 3259249"/>
                  <a:gd name="connsiteX1" fmla="*/ 132662 w 2422032"/>
                  <a:gd name="connsiteY1" fmla="*/ 257889 h 3259249"/>
                  <a:gd name="connsiteX2" fmla="*/ 75512 w 2422032"/>
                  <a:gd name="connsiteY2" fmla="*/ 691277 h 3259249"/>
                  <a:gd name="connsiteX3" fmla="*/ 1104212 w 2422032"/>
                  <a:gd name="connsiteY3" fmla="*/ 1138952 h 3259249"/>
                  <a:gd name="connsiteX4" fmla="*/ 1783662 w 2422032"/>
                  <a:gd name="connsiteY4" fmla="*/ 1465977 h 3259249"/>
                  <a:gd name="connsiteX5" fmla="*/ 2136087 w 2422032"/>
                  <a:gd name="connsiteY5" fmla="*/ 1932702 h 3259249"/>
                  <a:gd name="connsiteX6" fmla="*/ 1824937 w 2422032"/>
                  <a:gd name="connsiteY6" fmla="*/ 2586752 h 3259249"/>
                  <a:gd name="connsiteX7" fmla="*/ 1990037 w 2422032"/>
                  <a:gd name="connsiteY7" fmla="*/ 3224927 h 3259249"/>
                  <a:gd name="connsiteX8" fmla="*/ 2421837 w 2422032"/>
                  <a:gd name="connsiteY8" fmla="*/ 3047127 h 3259249"/>
                  <a:gd name="connsiteX9" fmla="*/ 2047187 w 2422032"/>
                  <a:gd name="connsiteY9" fmla="*/ 2583577 h 3259249"/>
                  <a:gd name="connsiteX10" fmla="*/ 2307537 w 2422032"/>
                  <a:gd name="connsiteY10" fmla="*/ 1929527 h 3259249"/>
                  <a:gd name="connsiteX11" fmla="*/ 1953525 w 2422032"/>
                  <a:gd name="connsiteY11" fmla="*/ 1410415 h 3259249"/>
                  <a:gd name="connsiteX12" fmla="*/ 1189936 w 2422032"/>
                  <a:gd name="connsiteY12" fmla="*/ 1032589 h 3259249"/>
                  <a:gd name="connsiteX13" fmla="*/ 185049 w 2422032"/>
                  <a:gd name="connsiteY13" fmla="*/ 610315 h 3259249"/>
                  <a:gd name="connsiteX14" fmla="*/ 185049 w 2422032"/>
                  <a:gd name="connsiteY14" fmla="*/ 334089 h 3259249"/>
                  <a:gd name="connsiteX15" fmla="*/ 485087 w 2422032"/>
                  <a:gd name="connsiteY15" fmla="*/ 714 h 3259249"/>
                  <a:gd name="connsiteX0" fmla="*/ 491900 w 2428845"/>
                  <a:gd name="connsiteY0" fmla="*/ 199 h 3258734"/>
                  <a:gd name="connsiteX1" fmla="*/ 120425 w 2428845"/>
                  <a:gd name="connsiteY1" fmla="*/ 290712 h 3258734"/>
                  <a:gd name="connsiteX2" fmla="*/ 82325 w 2428845"/>
                  <a:gd name="connsiteY2" fmla="*/ 690762 h 3258734"/>
                  <a:gd name="connsiteX3" fmla="*/ 1111025 w 2428845"/>
                  <a:gd name="connsiteY3" fmla="*/ 1138437 h 3258734"/>
                  <a:gd name="connsiteX4" fmla="*/ 1790475 w 2428845"/>
                  <a:gd name="connsiteY4" fmla="*/ 1465462 h 3258734"/>
                  <a:gd name="connsiteX5" fmla="*/ 2142900 w 2428845"/>
                  <a:gd name="connsiteY5" fmla="*/ 1932187 h 3258734"/>
                  <a:gd name="connsiteX6" fmla="*/ 1831750 w 2428845"/>
                  <a:gd name="connsiteY6" fmla="*/ 2586237 h 3258734"/>
                  <a:gd name="connsiteX7" fmla="*/ 1996850 w 2428845"/>
                  <a:gd name="connsiteY7" fmla="*/ 3224412 h 3258734"/>
                  <a:gd name="connsiteX8" fmla="*/ 2428650 w 2428845"/>
                  <a:gd name="connsiteY8" fmla="*/ 3046612 h 3258734"/>
                  <a:gd name="connsiteX9" fmla="*/ 2054000 w 2428845"/>
                  <a:gd name="connsiteY9" fmla="*/ 2583062 h 3258734"/>
                  <a:gd name="connsiteX10" fmla="*/ 2314350 w 2428845"/>
                  <a:gd name="connsiteY10" fmla="*/ 1929012 h 3258734"/>
                  <a:gd name="connsiteX11" fmla="*/ 1960338 w 2428845"/>
                  <a:gd name="connsiteY11" fmla="*/ 1409900 h 3258734"/>
                  <a:gd name="connsiteX12" fmla="*/ 1196749 w 2428845"/>
                  <a:gd name="connsiteY12" fmla="*/ 1032074 h 3258734"/>
                  <a:gd name="connsiteX13" fmla="*/ 191862 w 2428845"/>
                  <a:gd name="connsiteY13" fmla="*/ 609800 h 3258734"/>
                  <a:gd name="connsiteX14" fmla="*/ 191862 w 2428845"/>
                  <a:gd name="connsiteY14" fmla="*/ 333574 h 3258734"/>
                  <a:gd name="connsiteX15" fmla="*/ 491900 w 2428845"/>
                  <a:gd name="connsiteY15" fmla="*/ 199 h 3258734"/>
                  <a:gd name="connsiteX0" fmla="*/ 495611 w 2432556"/>
                  <a:gd name="connsiteY0" fmla="*/ 208 h 3258743"/>
                  <a:gd name="connsiteX1" fmla="*/ 124136 w 2432556"/>
                  <a:gd name="connsiteY1" fmla="*/ 290721 h 3258743"/>
                  <a:gd name="connsiteX2" fmla="*/ 86036 w 2432556"/>
                  <a:gd name="connsiteY2" fmla="*/ 690771 h 3258743"/>
                  <a:gd name="connsiteX3" fmla="*/ 1114736 w 2432556"/>
                  <a:gd name="connsiteY3" fmla="*/ 1138446 h 3258743"/>
                  <a:gd name="connsiteX4" fmla="*/ 1794186 w 2432556"/>
                  <a:gd name="connsiteY4" fmla="*/ 1465471 h 3258743"/>
                  <a:gd name="connsiteX5" fmla="*/ 2146611 w 2432556"/>
                  <a:gd name="connsiteY5" fmla="*/ 1932196 h 3258743"/>
                  <a:gd name="connsiteX6" fmla="*/ 1835461 w 2432556"/>
                  <a:gd name="connsiteY6" fmla="*/ 2586246 h 3258743"/>
                  <a:gd name="connsiteX7" fmla="*/ 2000561 w 2432556"/>
                  <a:gd name="connsiteY7" fmla="*/ 3224421 h 3258743"/>
                  <a:gd name="connsiteX8" fmla="*/ 2432361 w 2432556"/>
                  <a:gd name="connsiteY8" fmla="*/ 3046621 h 3258743"/>
                  <a:gd name="connsiteX9" fmla="*/ 2057711 w 2432556"/>
                  <a:gd name="connsiteY9" fmla="*/ 2583071 h 3258743"/>
                  <a:gd name="connsiteX10" fmla="*/ 2318061 w 2432556"/>
                  <a:gd name="connsiteY10" fmla="*/ 1929021 h 3258743"/>
                  <a:gd name="connsiteX11" fmla="*/ 1964049 w 2432556"/>
                  <a:gd name="connsiteY11" fmla="*/ 1409909 h 3258743"/>
                  <a:gd name="connsiteX12" fmla="*/ 1200460 w 2432556"/>
                  <a:gd name="connsiteY12" fmla="*/ 1032083 h 3258743"/>
                  <a:gd name="connsiteX13" fmla="*/ 195573 w 2432556"/>
                  <a:gd name="connsiteY13" fmla="*/ 609809 h 3258743"/>
                  <a:gd name="connsiteX14" fmla="*/ 195573 w 2432556"/>
                  <a:gd name="connsiteY14" fmla="*/ 333583 h 3258743"/>
                  <a:gd name="connsiteX15" fmla="*/ 495611 w 2432556"/>
                  <a:gd name="connsiteY15" fmla="*/ 208 h 3258743"/>
                  <a:gd name="connsiteX0" fmla="*/ 493116 w 2430061"/>
                  <a:gd name="connsiteY0" fmla="*/ 185 h 3258720"/>
                  <a:gd name="connsiteX1" fmla="*/ 121641 w 2430061"/>
                  <a:gd name="connsiteY1" fmla="*/ 290698 h 3258720"/>
                  <a:gd name="connsiteX2" fmla="*/ 83541 w 2430061"/>
                  <a:gd name="connsiteY2" fmla="*/ 690748 h 3258720"/>
                  <a:gd name="connsiteX3" fmla="*/ 1112241 w 2430061"/>
                  <a:gd name="connsiteY3" fmla="*/ 1138423 h 3258720"/>
                  <a:gd name="connsiteX4" fmla="*/ 1791691 w 2430061"/>
                  <a:gd name="connsiteY4" fmla="*/ 1465448 h 3258720"/>
                  <a:gd name="connsiteX5" fmla="*/ 2144116 w 2430061"/>
                  <a:gd name="connsiteY5" fmla="*/ 1932173 h 3258720"/>
                  <a:gd name="connsiteX6" fmla="*/ 1832966 w 2430061"/>
                  <a:gd name="connsiteY6" fmla="*/ 2586223 h 3258720"/>
                  <a:gd name="connsiteX7" fmla="*/ 1998066 w 2430061"/>
                  <a:gd name="connsiteY7" fmla="*/ 3224398 h 3258720"/>
                  <a:gd name="connsiteX8" fmla="*/ 2429866 w 2430061"/>
                  <a:gd name="connsiteY8" fmla="*/ 3046598 h 3258720"/>
                  <a:gd name="connsiteX9" fmla="*/ 2055216 w 2430061"/>
                  <a:gd name="connsiteY9" fmla="*/ 2583048 h 3258720"/>
                  <a:gd name="connsiteX10" fmla="*/ 2315566 w 2430061"/>
                  <a:gd name="connsiteY10" fmla="*/ 1928998 h 3258720"/>
                  <a:gd name="connsiteX11" fmla="*/ 1961554 w 2430061"/>
                  <a:gd name="connsiteY11" fmla="*/ 1409886 h 3258720"/>
                  <a:gd name="connsiteX12" fmla="*/ 1197965 w 2430061"/>
                  <a:gd name="connsiteY12" fmla="*/ 1032060 h 3258720"/>
                  <a:gd name="connsiteX13" fmla="*/ 193078 w 2430061"/>
                  <a:gd name="connsiteY13" fmla="*/ 609786 h 3258720"/>
                  <a:gd name="connsiteX14" fmla="*/ 193078 w 2430061"/>
                  <a:gd name="connsiteY14" fmla="*/ 333560 h 3258720"/>
                  <a:gd name="connsiteX15" fmla="*/ 493116 w 2430061"/>
                  <a:gd name="connsiteY15" fmla="*/ 185 h 3258720"/>
                  <a:gd name="connsiteX0" fmla="*/ 493116 w 2430061"/>
                  <a:gd name="connsiteY0" fmla="*/ 185 h 3258720"/>
                  <a:gd name="connsiteX1" fmla="*/ 121641 w 2430061"/>
                  <a:gd name="connsiteY1" fmla="*/ 290698 h 3258720"/>
                  <a:gd name="connsiteX2" fmla="*/ 83541 w 2430061"/>
                  <a:gd name="connsiteY2" fmla="*/ 690748 h 3258720"/>
                  <a:gd name="connsiteX3" fmla="*/ 1112241 w 2430061"/>
                  <a:gd name="connsiteY3" fmla="*/ 1138423 h 3258720"/>
                  <a:gd name="connsiteX4" fmla="*/ 1791691 w 2430061"/>
                  <a:gd name="connsiteY4" fmla="*/ 1465448 h 3258720"/>
                  <a:gd name="connsiteX5" fmla="*/ 2144116 w 2430061"/>
                  <a:gd name="connsiteY5" fmla="*/ 1932173 h 3258720"/>
                  <a:gd name="connsiteX6" fmla="*/ 1832966 w 2430061"/>
                  <a:gd name="connsiteY6" fmla="*/ 2586223 h 3258720"/>
                  <a:gd name="connsiteX7" fmla="*/ 1998066 w 2430061"/>
                  <a:gd name="connsiteY7" fmla="*/ 3224398 h 3258720"/>
                  <a:gd name="connsiteX8" fmla="*/ 2429866 w 2430061"/>
                  <a:gd name="connsiteY8" fmla="*/ 3046598 h 3258720"/>
                  <a:gd name="connsiteX9" fmla="*/ 2055216 w 2430061"/>
                  <a:gd name="connsiteY9" fmla="*/ 2583048 h 3258720"/>
                  <a:gd name="connsiteX10" fmla="*/ 2315566 w 2430061"/>
                  <a:gd name="connsiteY10" fmla="*/ 1928998 h 3258720"/>
                  <a:gd name="connsiteX11" fmla="*/ 1961554 w 2430061"/>
                  <a:gd name="connsiteY11" fmla="*/ 1409886 h 3258720"/>
                  <a:gd name="connsiteX12" fmla="*/ 1197965 w 2430061"/>
                  <a:gd name="connsiteY12" fmla="*/ 1032060 h 3258720"/>
                  <a:gd name="connsiteX13" fmla="*/ 193078 w 2430061"/>
                  <a:gd name="connsiteY13" fmla="*/ 609786 h 3258720"/>
                  <a:gd name="connsiteX14" fmla="*/ 193078 w 2430061"/>
                  <a:gd name="connsiteY14" fmla="*/ 333560 h 3258720"/>
                  <a:gd name="connsiteX15" fmla="*/ 493116 w 2430061"/>
                  <a:gd name="connsiteY15" fmla="*/ 185 h 3258720"/>
                  <a:gd name="connsiteX0" fmla="*/ 493116 w 2430061"/>
                  <a:gd name="connsiteY0" fmla="*/ 185 h 3258720"/>
                  <a:gd name="connsiteX1" fmla="*/ 121641 w 2430061"/>
                  <a:gd name="connsiteY1" fmla="*/ 290698 h 3258720"/>
                  <a:gd name="connsiteX2" fmla="*/ 83541 w 2430061"/>
                  <a:gd name="connsiteY2" fmla="*/ 690748 h 3258720"/>
                  <a:gd name="connsiteX3" fmla="*/ 1112241 w 2430061"/>
                  <a:gd name="connsiteY3" fmla="*/ 1138423 h 3258720"/>
                  <a:gd name="connsiteX4" fmla="*/ 1791691 w 2430061"/>
                  <a:gd name="connsiteY4" fmla="*/ 1465448 h 3258720"/>
                  <a:gd name="connsiteX5" fmla="*/ 2144116 w 2430061"/>
                  <a:gd name="connsiteY5" fmla="*/ 1932173 h 3258720"/>
                  <a:gd name="connsiteX6" fmla="*/ 1832966 w 2430061"/>
                  <a:gd name="connsiteY6" fmla="*/ 2586223 h 3258720"/>
                  <a:gd name="connsiteX7" fmla="*/ 1998066 w 2430061"/>
                  <a:gd name="connsiteY7" fmla="*/ 3224398 h 3258720"/>
                  <a:gd name="connsiteX8" fmla="*/ 2429866 w 2430061"/>
                  <a:gd name="connsiteY8" fmla="*/ 3046598 h 3258720"/>
                  <a:gd name="connsiteX9" fmla="*/ 2055216 w 2430061"/>
                  <a:gd name="connsiteY9" fmla="*/ 2583048 h 3258720"/>
                  <a:gd name="connsiteX10" fmla="*/ 2315566 w 2430061"/>
                  <a:gd name="connsiteY10" fmla="*/ 1928998 h 3258720"/>
                  <a:gd name="connsiteX11" fmla="*/ 1961554 w 2430061"/>
                  <a:gd name="connsiteY11" fmla="*/ 1409886 h 3258720"/>
                  <a:gd name="connsiteX12" fmla="*/ 1197965 w 2430061"/>
                  <a:gd name="connsiteY12" fmla="*/ 1032060 h 3258720"/>
                  <a:gd name="connsiteX13" fmla="*/ 193078 w 2430061"/>
                  <a:gd name="connsiteY13" fmla="*/ 609786 h 3258720"/>
                  <a:gd name="connsiteX14" fmla="*/ 193078 w 2430061"/>
                  <a:gd name="connsiteY14" fmla="*/ 333560 h 3258720"/>
                  <a:gd name="connsiteX15" fmla="*/ 493116 w 2430061"/>
                  <a:gd name="connsiteY15" fmla="*/ 185 h 3258720"/>
                  <a:gd name="connsiteX0" fmla="*/ 493116 w 2430061"/>
                  <a:gd name="connsiteY0" fmla="*/ 185 h 3258720"/>
                  <a:gd name="connsiteX1" fmla="*/ 121641 w 2430061"/>
                  <a:gd name="connsiteY1" fmla="*/ 290698 h 3258720"/>
                  <a:gd name="connsiteX2" fmla="*/ 83541 w 2430061"/>
                  <a:gd name="connsiteY2" fmla="*/ 690748 h 3258720"/>
                  <a:gd name="connsiteX3" fmla="*/ 1112241 w 2430061"/>
                  <a:gd name="connsiteY3" fmla="*/ 1138423 h 3258720"/>
                  <a:gd name="connsiteX4" fmla="*/ 1791691 w 2430061"/>
                  <a:gd name="connsiteY4" fmla="*/ 1465448 h 3258720"/>
                  <a:gd name="connsiteX5" fmla="*/ 2144116 w 2430061"/>
                  <a:gd name="connsiteY5" fmla="*/ 1932173 h 3258720"/>
                  <a:gd name="connsiteX6" fmla="*/ 1832966 w 2430061"/>
                  <a:gd name="connsiteY6" fmla="*/ 2586223 h 3258720"/>
                  <a:gd name="connsiteX7" fmla="*/ 1998066 w 2430061"/>
                  <a:gd name="connsiteY7" fmla="*/ 3224398 h 3258720"/>
                  <a:gd name="connsiteX8" fmla="*/ 2429866 w 2430061"/>
                  <a:gd name="connsiteY8" fmla="*/ 3046598 h 3258720"/>
                  <a:gd name="connsiteX9" fmla="*/ 2055216 w 2430061"/>
                  <a:gd name="connsiteY9" fmla="*/ 2583048 h 3258720"/>
                  <a:gd name="connsiteX10" fmla="*/ 2315566 w 2430061"/>
                  <a:gd name="connsiteY10" fmla="*/ 1928998 h 3258720"/>
                  <a:gd name="connsiteX11" fmla="*/ 1975841 w 2430061"/>
                  <a:gd name="connsiteY11" fmla="*/ 1409886 h 3258720"/>
                  <a:gd name="connsiteX12" fmla="*/ 1197965 w 2430061"/>
                  <a:gd name="connsiteY12" fmla="*/ 1032060 h 3258720"/>
                  <a:gd name="connsiteX13" fmla="*/ 193078 w 2430061"/>
                  <a:gd name="connsiteY13" fmla="*/ 609786 h 3258720"/>
                  <a:gd name="connsiteX14" fmla="*/ 193078 w 2430061"/>
                  <a:gd name="connsiteY14" fmla="*/ 333560 h 3258720"/>
                  <a:gd name="connsiteX15" fmla="*/ 493116 w 2430061"/>
                  <a:gd name="connsiteY15" fmla="*/ 185 h 3258720"/>
                  <a:gd name="connsiteX0" fmla="*/ 493116 w 2430061"/>
                  <a:gd name="connsiteY0" fmla="*/ 185 h 3258720"/>
                  <a:gd name="connsiteX1" fmla="*/ 121641 w 2430061"/>
                  <a:gd name="connsiteY1" fmla="*/ 290698 h 3258720"/>
                  <a:gd name="connsiteX2" fmla="*/ 83541 w 2430061"/>
                  <a:gd name="connsiteY2" fmla="*/ 690748 h 3258720"/>
                  <a:gd name="connsiteX3" fmla="*/ 1112241 w 2430061"/>
                  <a:gd name="connsiteY3" fmla="*/ 1138423 h 3258720"/>
                  <a:gd name="connsiteX4" fmla="*/ 1791691 w 2430061"/>
                  <a:gd name="connsiteY4" fmla="*/ 1465448 h 3258720"/>
                  <a:gd name="connsiteX5" fmla="*/ 2144116 w 2430061"/>
                  <a:gd name="connsiteY5" fmla="*/ 1932173 h 3258720"/>
                  <a:gd name="connsiteX6" fmla="*/ 1832966 w 2430061"/>
                  <a:gd name="connsiteY6" fmla="*/ 2586223 h 3258720"/>
                  <a:gd name="connsiteX7" fmla="*/ 1998066 w 2430061"/>
                  <a:gd name="connsiteY7" fmla="*/ 3224398 h 3258720"/>
                  <a:gd name="connsiteX8" fmla="*/ 2429866 w 2430061"/>
                  <a:gd name="connsiteY8" fmla="*/ 3046598 h 3258720"/>
                  <a:gd name="connsiteX9" fmla="*/ 2079028 w 2430061"/>
                  <a:gd name="connsiteY9" fmla="*/ 2592573 h 3258720"/>
                  <a:gd name="connsiteX10" fmla="*/ 2315566 w 2430061"/>
                  <a:gd name="connsiteY10" fmla="*/ 1928998 h 3258720"/>
                  <a:gd name="connsiteX11" fmla="*/ 1975841 w 2430061"/>
                  <a:gd name="connsiteY11" fmla="*/ 1409886 h 3258720"/>
                  <a:gd name="connsiteX12" fmla="*/ 1197965 w 2430061"/>
                  <a:gd name="connsiteY12" fmla="*/ 1032060 h 3258720"/>
                  <a:gd name="connsiteX13" fmla="*/ 193078 w 2430061"/>
                  <a:gd name="connsiteY13" fmla="*/ 609786 h 3258720"/>
                  <a:gd name="connsiteX14" fmla="*/ 193078 w 2430061"/>
                  <a:gd name="connsiteY14" fmla="*/ 333560 h 3258720"/>
                  <a:gd name="connsiteX15" fmla="*/ 493116 w 2430061"/>
                  <a:gd name="connsiteY15" fmla="*/ 185 h 325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30061" h="3258720">
                    <a:moveTo>
                      <a:pt x="493116" y="185"/>
                    </a:moveTo>
                    <a:cubicBezTo>
                      <a:pt x="481210" y="-6959"/>
                      <a:pt x="208952" y="194655"/>
                      <a:pt x="121641" y="290698"/>
                    </a:cubicBezTo>
                    <a:cubicBezTo>
                      <a:pt x="34330" y="386741"/>
                      <a:pt x="-81559" y="549461"/>
                      <a:pt x="83541" y="690748"/>
                    </a:cubicBezTo>
                    <a:cubicBezTo>
                      <a:pt x="248641" y="832035"/>
                      <a:pt x="818024" y="1023593"/>
                      <a:pt x="1112241" y="1138423"/>
                    </a:cubicBezTo>
                    <a:cubicBezTo>
                      <a:pt x="1406458" y="1253253"/>
                      <a:pt x="1672100" y="1371256"/>
                      <a:pt x="1791691" y="1465448"/>
                    </a:cubicBezTo>
                    <a:cubicBezTo>
                      <a:pt x="1911282" y="1559640"/>
                      <a:pt x="2137237" y="1745377"/>
                      <a:pt x="2144116" y="1932173"/>
                    </a:cubicBezTo>
                    <a:cubicBezTo>
                      <a:pt x="2150995" y="2118969"/>
                      <a:pt x="1857308" y="2370852"/>
                      <a:pt x="1832966" y="2586223"/>
                    </a:cubicBezTo>
                    <a:cubicBezTo>
                      <a:pt x="1808624" y="2801594"/>
                      <a:pt x="1932449" y="3092106"/>
                      <a:pt x="1998066" y="3224398"/>
                    </a:cubicBezTo>
                    <a:cubicBezTo>
                      <a:pt x="2098608" y="3309065"/>
                      <a:pt x="2439391" y="3232335"/>
                      <a:pt x="2429866" y="3046598"/>
                    </a:cubicBezTo>
                    <a:cubicBezTo>
                      <a:pt x="2299691" y="2965636"/>
                      <a:pt x="2098078" y="2778839"/>
                      <a:pt x="2079028" y="2592573"/>
                    </a:cubicBezTo>
                    <a:cubicBezTo>
                      <a:pt x="2059978" y="2406307"/>
                      <a:pt x="2332764" y="2126113"/>
                      <a:pt x="2315566" y="1928998"/>
                    </a:cubicBezTo>
                    <a:cubicBezTo>
                      <a:pt x="2298368" y="1731884"/>
                      <a:pt x="2162108" y="1559376"/>
                      <a:pt x="1975841" y="1409886"/>
                    </a:cubicBezTo>
                    <a:cubicBezTo>
                      <a:pt x="1789574" y="1260396"/>
                      <a:pt x="1495092" y="1165410"/>
                      <a:pt x="1197965" y="1032060"/>
                    </a:cubicBezTo>
                    <a:cubicBezTo>
                      <a:pt x="900838" y="898710"/>
                      <a:pt x="602653" y="817749"/>
                      <a:pt x="193078" y="609786"/>
                    </a:cubicBezTo>
                    <a:cubicBezTo>
                      <a:pt x="83541" y="535173"/>
                      <a:pt x="128785" y="435160"/>
                      <a:pt x="193078" y="333560"/>
                    </a:cubicBezTo>
                    <a:cubicBezTo>
                      <a:pt x="257371" y="231960"/>
                      <a:pt x="505022" y="7329"/>
                      <a:pt x="493116" y="185"/>
                    </a:cubicBez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132" name="Freihandform 63">
                <a:extLst>
                  <a:ext uri="{FF2B5EF4-FFF2-40B4-BE49-F238E27FC236}">
                    <a16:creationId xmlns:a16="http://schemas.microsoft.com/office/drawing/2014/main" id="{09BCFC9E-8B06-4BA3-A241-4C9A5BF1624D}"/>
                  </a:ext>
                </a:extLst>
              </p:cNvPr>
              <p:cNvSpPr/>
              <p:nvPr/>
            </p:nvSpPr>
            <p:spPr>
              <a:xfrm>
                <a:off x="8375262" y="4639061"/>
                <a:ext cx="431589" cy="212765"/>
              </a:xfrm>
              <a:custGeom>
                <a:avLst/>
                <a:gdLst>
                  <a:gd name="connsiteX0" fmla="*/ 374651 w 2375054"/>
                  <a:gd name="connsiteY0" fmla="*/ 118 h 3210043"/>
                  <a:gd name="connsiteX1" fmla="*/ 98426 w 2375054"/>
                  <a:gd name="connsiteY1" fmla="*/ 247768 h 3210043"/>
                  <a:gd name="connsiteX2" fmla="*/ 60326 w 2375054"/>
                  <a:gd name="connsiteY2" fmla="*/ 676393 h 3210043"/>
                  <a:gd name="connsiteX3" fmla="*/ 889001 w 2375054"/>
                  <a:gd name="connsiteY3" fmla="*/ 1038343 h 3210043"/>
                  <a:gd name="connsiteX4" fmla="*/ 1727201 w 2375054"/>
                  <a:gd name="connsiteY4" fmla="*/ 1238368 h 3210043"/>
                  <a:gd name="connsiteX5" fmla="*/ 2184401 w 2375054"/>
                  <a:gd name="connsiteY5" fmla="*/ 1857493 h 3210043"/>
                  <a:gd name="connsiteX6" fmla="*/ 1822451 w 2375054"/>
                  <a:gd name="connsiteY6" fmla="*/ 2524243 h 3210043"/>
                  <a:gd name="connsiteX7" fmla="*/ 1993901 w 2375054"/>
                  <a:gd name="connsiteY7" fmla="*/ 3210043 h 3210043"/>
                  <a:gd name="connsiteX8" fmla="*/ 1993901 w 2375054"/>
                  <a:gd name="connsiteY8" fmla="*/ 3210043 h 3210043"/>
                  <a:gd name="connsiteX9" fmla="*/ 2203451 w 2375054"/>
                  <a:gd name="connsiteY9" fmla="*/ 3114793 h 3210043"/>
                  <a:gd name="connsiteX10" fmla="*/ 2051051 w 2375054"/>
                  <a:gd name="connsiteY10" fmla="*/ 2590918 h 3210043"/>
                  <a:gd name="connsiteX11" fmla="*/ 2374901 w 2375054"/>
                  <a:gd name="connsiteY11" fmla="*/ 1914643 h 3210043"/>
                  <a:gd name="connsiteX12" fmla="*/ 2003426 w 2375054"/>
                  <a:gd name="connsiteY12" fmla="*/ 1133593 h 3210043"/>
                  <a:gd name="connsiteX13" fmla="*/ 1279526 w 2375054"/>
                  <a:gd name="connsiteY13" fmla="*/ 924043 h 3210043"/>
                  <a:gd name="connsiteX14" fmla="*/ 336551 w 2375054"/>
                  <a:gd name="connsiteY14" fmla="*/ 666868 h 3210043"/>
                  <a:gd name="connsiteX15" fmla="*/ 250826 w 2375054"/>
                  <a:gd name="connsiteY15" fmla="*/ 276343 h 3210043"/>
                  <a:gd name="connsiteX16" fmla="*/ 374651 w 2375054"/>
                  <a:gd name="connsiteY16" fmla="*/ 118 h 3210043"/>
                  <a:gd name="connsiteX0" fmla="*/ 374651 w 2375049"/>
                  <a:gd name="connsiteY0" fmla="*/ 118 h 3210043"/>
                  <a:gd name="connsiteX1" fmla="*/ 98426 w 2375049"/>
                  <a:gd name="connsiteY1" fmla="*/ 247768 h 3210043"/>
                  <a:gd name="connsiteX2" fmla="*/ 60326 w 2375049"/>
                  <a:gd name="connsiteY2" fmla="*/ 676393 h 3210043"/>
                  <a:gd name="connsiteX3" fmla="*/ 889001 w 2375049"/>
                  <a:gd name="connsiteY3" fmla="*/ 1038343 h 3210043"/>
                  <a:gd name="connsiteX4" fmla="*/ 1727201 w 2375049"/>
                  <a:gd name="connsiteY4" fmla="*/ 1238368 h 3210043"/>
                  <a:gd name="connsiteX5" fmla="*/ 2184401 w 2375049"/>
                  <a:gd name="connsiteY5" fmla="*/ 1857493 h 3210043"/>
                  <a:gd name="connsiteX6" fmla="*/ 1822451 w 2375049"/>
                  <a:gd name="connsiteY6" fmla="*/ 2524243 h 3210043"/>
                  <a:gd name="connsiteX7" fmla="*/ 1993901 w 2375049"/>
                  <a:gd name="connsiteY7" fmla="*/ 3210043 h 3210043"/>
                  <a:gd name="connsiteX8" fmla="*/ 1993901 w 2375049"/>
                  <a:gd name="connsiteY8" fmla="*/ 3210043 h 3210043"/>
                  <a:gd name="connsiteX9" fmla="*/ 2257426 w 2375049"/>
                  <a:gd name="connsiteY9" fmla="*/ 3108443 h 3210043"/>
                  <a:gd name="connsiteX10" fmla="*/ 2051051 w 2375049"/>
                  <a:gd name="connsiteY10" fmla="*/ 2590918 h 3210043"/>
                  <a:gd name="connsiteX11" fmla="*/ 2374901 w 2375049"/>
                  <a:gd name="connsiteY11" fmla="*/ 1914643 h 3210043"/>
                  <a:gd name="connsiteX12" fmla="*/ 2003426 w 2375049"/>
                  <a:gd name="connsiteY12" fmla="*/ 1133593 h 3210043"/>
                  <a:gd name="connsiteX13" fmla="*/ 1279526 w 2375049"/>
                  <a:gd name="connsiteY13" fmla="*/ 924043 h 3210043"/>
                  <a:gd name="connsiteX14" fmla="*/ 336551 w 2375049"/>
                  <a:gd name="connsiteY14" fmla="*/ 666868 h 3210043"/>
                  <a:gd name="connsiteX15" fmla="*/ 250826 w 2375049"/>
                  <a:gd name="connsiteY15" fmla="*/ 276343 h 3210043"/>
                  <a:gd name="connsiteX16" fmla="*/ 374651 w 2375049"/>
                  <a:gd name="connsiteY16" fmla="*/ 118 h 3210043"/>
                  <a:gd name="connsiteX0" fmla="*/ 374651 w 2375049"/>
                  <a:gd name="connsiteY0" fmla="*/ 118 h 3210043"/>
                  <a:gd name="connsiteX1" fmla="*/ 98426 w 2375049"/>
                  <a:gd name="connsiteY1" fmla="*/ 247768 h 3210043"/>
                  <a:gd name="connsiteX2" fmla="*/ 60326 w 2375049"/>
                  <a:gd name="connsiteY2" fmla="*/ 676393 h 3210043"/>
                  <a:gd name="connsiteX3" fmla="*/ 889001 w 2375049"/>
                  <a:gd name="connsiteY3" fmla="*/ 1038343 h 3210043"/>
                  <a:gd name="connsiteX4" fmla="*/ 1727201 w 2375049"/>
                  <a:gd name="connsiteY4" fmla="*/ 1238368 h 3210043"/>
                  <a:gd name="connsiteX5" fmla="*/ 2184401 w 2375049"/>
                  <a:gd name="connsiteY5" fmla="*/ 1857493 h 3210043"/>
                  <a:gd name="connsiteX6" fmla="*/ 1822451 w 2375049"/>
                  <a:gd name="connsiteY6" fmla="*/ 2524243 h 3210043"/>
                  <a:gd name="connsiteX7" fmla="*/ 1993901 w 2375049"/>
                  <a:gd name="connsiteY7" fmla="*/ 3210043 h 3210043"/>
                  <a:gd name="connsiteX8" fmla="*/ 1993901 w 2375049"/>
                  <a:gd name="connsiteY8" fmla="*/ 3210043 h 3210043"/>
                  <a:gd name="connsiteX9" fmla="*/ 2257426 w 2375049"/>
                  <a:gd name="connsiteY9" fmla="*/ 3108443 h 3210043"/>
                  <a:gd name="connsiteX10" fmla="*/ 2051051 w 2375049"/>
                  <a:gd name="connsiteY10" fmla="*/ 2590918 h 3210043"/>
                  <a:gd name="connsiteX11" fmla="*/ 2374901 w 2375049"/>
                  <a:gd name="connsiteY11" fmla="*/ 1914643 h 3210043"/>
                  <a:gd name="connsiteX12" fmla="*/ 2003426 w 2375049"/>
                  <a:gd name="connsiteY12" fmla="*/ 1133593 h 3210043"/>
                  <a:gd name="connsiteX13" fmla="*/ 1279526 w 2375049"/>
                  <a:gd name="connsiteY13" fmla="*/ 924043 h 3210043"/>
                  <a:gd name="connsiteX14" fmla="*/ 336551 w 2375049"/>
                  <a:gd name="connsiteY14" fmla="*/ 666868 h 3210043"/>
                  <a:gd name="connsiteX15" fmla="*/ 250826 w 2375049"/>
                  <a:gd name="connsiteY15" fmla="*/ 276343 h 3210043"/>
                  <a:gd name="connsiteX16" fmla="*/ 374651 w 2375049"/>
                  <a:gd name="connsiteY16" fmla="*/ 118 h 3210043"/>
                  <a:gd name="connsiteX0" fmla="*/ 374651 w 2425701"/>
                  <a:gd name="connsiteY0" fmla="*/ 118 h 3210043"/>
                  <a:gd name="connsiteX1" fmla="*/ 98426 w 2425701"/>
                  <a:gd name="connsiteY1" fmla="*/ 247768 h 3210043"/>
                  <a:gd name="connsiteX2" fmla="*/ 60326 w 2425701"/>
                  <a:gd name="connsiteY2" fmla="*/ 676393 h 3210043"/>
                  <a:gd name="connsiteX3" fmla="*/ 889001 w 2425701"/>
                  <a:gd name="connsiteY3" fmla="*/ 1038343 h 3210043"/>
                  <a:gd name="connsiteX4" fmla="*/ 1727201 w 2425701"/>
                  <a:gd name="connsiteY4" fmla="*/ 1238368 h 3210043"/>
                  <a:gd name="connsiteX5" fmla="*/ 2184401 w 2425701"/>
                  <a:gd name="connsiteY5" fmla="*/ 1857493 h 3210043"/>
                  <a:gd name="connsiteX6" fmla="*/ 1822451 w 2425701"/>
                  <a:gd name="connsiteY6" fmla="*/ 2524243 h 3210043"/>
                  <a:gd name="connsiteX7" fmla="*/ 1993901 w 2425701"/>
                  <a:gd name="connsiteY7" fmla="*/ 3210043 h 3210043"/>
                  <a:gd name="connsiteX8" fmla="*/ 1993901 w 2425701"/>
                  <a:gd name="connsiteY8" fmla="*/ 3210043 h 3210043"/>
                  <a:gd name="connsiteX9" fmla="*/ 2425701 w 2425701"/>
                  <a:gd name="connsiteY9" fmla="*/ 3019543 h 3210043"/>
                  <a:gd name="connsiteX10" fmla="*/ 2051051 w 2425701"/>
                  <a:gd name="connsiteY10" fmla="*/ 2590918 h 3210043"/>
                  <a:gd name="connsiteX11" fmla="*/ 2374901 w 2425701"/>
                  <a:gd name="connsiteY11" fmla="*/ 1914643 h 3210043"/>
                  <a:gd name="connsiteX12" fmla="*/ 2003426 w 2425701"/>
                  <a:gd name="connsiteY12" fmla="*/ 1133593 h 3210043"/>
                  <a:gd name="connsiteX13" fmla="*/ 1279526 w 2425701"/>
                  <a:gd name="connsiteY13" fmla="*/ 924043 h 3210043"/>
                  <a:gd name="connsiteX14" fmla="*/ 336551 w 2425701"/>
                  <a:gd name="connsiteY14" fmla="*/ 666868 h 3210043"/>
                  <a:gd name="connsiteX15" fmla="*/ 250826 w 2425701"/>
                  <a:gd name="connsiteY15" fmla="*/ 276343 h 3210043"/>
                  <a:gd name="connsiteX16" fmla="*/ 374651 w 2425701"/>
                  <a:gd name="connsiteY16" fmla="*/ 118 h 3210043"/>
                  <a:gd name="connsiteX0" fmla="*/ 374651 w 2425701"/>
                  <a:gd name="connsiteY0" fmla="*/ 118 h 3260027"/>
                  <a:gd name="connsiteX1" fmla="*/ 98426 w 2425701"/>
                  <a:gd name="connsiteY1" fmla="*/ 247768 h 3260027"/>
                  <a:gd name="connsiteX2" fmla="*/ 60326 w 2425701"/>
                  <a:gd name="connsiteY2" fmla="*/ 676393 h 3260027"/>
                  <a:gd name="connsiteX3" fmla="*/ 889001 w 2425701"/>
                  <a:gd name="connsiteY3" fmla="*/ 1038343 h 3260027"/>
                  <a:gd name="connsiteX4" fmla="*/ 1727201 w 2425701"/>
                  <a:gd name="connsiteY4" fmla="*/ 1238368 h 3260027"/>
                  <a:gd name="connsiteX5" fmla="*/ 2184401 w 2425701"/>
                  <a:gd name="connsiteY5" fmla="*/ 1857493 h 3260027"/>
                  <a:gd name="connsiteX6" fmla="*/ 1822451 w 2425701"/>
                  <a:gd name="connsiteY6" fmla="*/ 2524243 h 3260027"/>
                  <a:gd name="connsiteX7" fmla="*/ 1993901 w 2425701"/>
                  <a:gd name="connsiteY7" fmla="*/ 3210043 h 3260027"/>
                  <a:gd name="connsiteX8" fmla="*/ 1990726 w 2425701"/>
                  <a:gd name="connsiteY8" fmla="*/ 3206868 h 3260027"/>
                  <a:gd name="connsiteX9" fmla="*/ 2425701 w 2425701"/>
                  <a:gd name="connsiteY9" fmla="*/ 3019543 h 3260027"/>
                  <a:gd name="connsiteX10" fmla="*/ 2051051 w 2425701"/>
                  <a:gd name="connsiteY10" fmla="*/ 2590918 h 3260027"/>
                  <a:gd name="connsiteX11" fmla="*/ 2374901 w 2425701"/>
                  <a:gd name="connsiteY11" fmla="*/ 1914643 h 3260027"/>
                  <a:gd name="connsiteX12" fmla="*/ 2003426 w 2425701"/>
                  <a:gd name="connsiteY12" fmla="*/ 1133593 h 3260027"/>
                  <a:gd name="connsiteX13" fmla="*/ 1279526 w 2425701"/>
                  <a:gd name="connsiteY13" fmla="*/ 924043 h 3260027"/>
                  <a:gd name="connsiteX14" fmla="*/ 336551 w 2425701"/>
                  <a:gd name="connsiteY14" fmla="*/ 666868 h 3260027"/>
                  <a:gd name="connsiteX15" fmla="*/ 250826 w 2425701"/>
                  <a:gd name="connsiteY15" fmla="*/ 276343 h 3260027"/>
                  <a:gd name="connsiteX16" fmla="*/ 374651 w 2425701"/>
                  <a:gd name="connsiteY16" fmla="*/ 118 h 3260027"/>
                  <a:gd name="connsiteX0" fmla="*/ 374651 w 2425701"/>
                  <a:gd name="connsiteY0" fmla="*/ 118 h 3259621"/>
                  <a:gd name="connsiteX1" fmla="*/ 98426 w 2425701"/>
                  <a:gd name="connsiteY1" fmla="*/ 247768 h 3259621"/>
                  <a:gd name="connsiteX2" fmla="*/ 60326 w 2425701"/>
                  <a:gd name="connsiteY2" fmla="*/ 676393 h 3259621"/>
                  <a:gd name="connsiteX3" fmla="*/ 889001 w 2425701"/>
                  <a:gd name="connsiteY3" fmla="*/ 1038343 h 3259621"/>
                  <a:gd name="connsiteX4" fmla="*/ 1727201 w 2425701"/>
                  <a:gd name="connsiteY4" fmla="*/ 1238368 h 3259621"/>
                  <a:gd name="connsiteX5" fmla="*/ 2184401 w 2425701"/>
                  <a:gd name="connsiteY5" fmla="*/ 1857493 h 3259621"/>
                  <a:gd name="connsiteX6" fmla="*/ 1822451 w 2425701"/>
                  <a:gd name="connsiteY6" fmla="*/ 2524243 h 3259621"/>
                  <a:gd name="connsiteX7" fmla="*/ 1993901 w 2425701"/>
                  <a:gd name="connsiteY7" fmla="*/ 3210043 h 3259621"/>
                  <a:gd name="connsiteX8" fmla="*/ 1990726 w 2425701"/>
                  <a:gd name="connsiteY8" fmla="*/ 3206868 h 3259621"/>
                  <a:gd name="connsiteX9" fmla="*/ 2425701 w 2425701"/>
                  <a:gd name="connsiteY9" fmla="*/ 3019543 h 3259621"/>
                  <a:gd name="connsiteX10" fmla="*/ 2051051 w 2425701"/>
                  <a:gd name="connsiteY10" fmla="*/ 2590918 h 3259621"/>
                  <a:gd name="connsiteX11" fmla="*/ 2374901 w 2425701"/>
                  <a:gd name="connsiteY11" fmla="*/ 1914643 h 3259621"/>
                  <a:gd name="connsiteX12" fmla="*/ 2003426 w 2425701"/>
                  <a:gd name="connsiteY12" fmla="*/ 1133593 h 3259621"/>
                  <a:gd name="connsiteX13" fmla="*/ 1279526 w 2425701"/>
                  <a:gd name="connsiteY13" fmla="*/ 924043 h 3259621"/>
                  <a:gd name="connsiteX14" fmla="*/ 336551 w 2425701"/>
                  <a:gd name="connsiteY14" fmla="*/ 666868 h 3259621"/>
                  <a:gd name="connsiteX15" fmla="*/ 250826 w 2425701"/>
                  <a:gd name="connsiteY15" fmla="*/ 276343 h 3259621"/>
                  <a:gd name="connsiteX16" fmla="*/ 374651 w 2425701"/>
                  <a:gd name="connsiteY16" fmla="*/ 118 h 3259621"/>
                  <a:gd name="connsiteX0" fmla="*/ 374651 w 2425701"/>
                  <a:gd name="connsiteY0" fmla="*/ 118 h 3317872"/>
                  <a:gd name="connsiteX1" fmla="*/ 98426 w 2425701"/>
                  <a:gd name="connsiteY1" fmla="*/ 247768 h 3317872"/>
                  <a:gd name="connsiteX2" fmla="*/ 60326 w 2425701"/>
                  <a:gd name="connsiteY2" fmla="*/ 676393 h 3317872"/>
                  <a:gd name="connsiteX3" fmla="*/ 889001 w 2425701"/>
                  <a:gd name="connsiteY3" fmla="*/ 1038343 h 3317872"/>
                  <a:gd name="connsiteX4" fmla="*/ 1727201 w 2425701"/>
                  <a:gd name="connsiteY4" fmla="*/ 1238368 h 3317872"/>
                  <a:gd name="connsiteX5" fmla="*/ 2184401 w 2425701"/>
                  <a:gd name="connsiteY5" fmla="*/ 1857493 h 3317872"/>
                  <a:gd name="connsiteX6" fmla="*/ 1822451 w 2425701"/>
                  <a:gd name="connsiteY6" fmla="*/ 2524243 h 3317872"/>
                  <a:gd name="connsiteX7" fmla="*/ 1993901 w 2425701"/>
                  <a:gd name="connsiteY7" fmla="*/ 3210043 h 3317872"/>
                  <a:gd name="connsiteX8" fmla="*/ 1981201 w 2425701"/>
                  <a:gd name="connsiteY8" fmla="*/ 3298943 h 3317872"/>
                  <a:gd name="connsiteX9" fmla="*/ 2425701 w 2425701"/>
                  <a:gd name="connsiteY9" fmla="*/ 3019543 h 3317872"/>
                  <a:gd name="connsiteX10" fmla="*/ 2051051 w 2425701"/>
                  <a:gd name="connsiteY10" fmla="*/ 2590918 h 3317872"/>
                  <a:gd name="connsiteX11" fmla="*/ 2374901 w 2425701"/>
                  <a:gd name="connsiteY11" fmla="*/ 1914643 h 3317872"/>
                  <a:gd name="connsiteX12" fmla="*/ 2003426 w 2425701"/>
                  <a:gd name="connsiteY12" fmla="*/ 1133593 h 3317872"/>
                  <a:gd name="connsiteX13" fmla="*/ 1279526 w 2425701"/>
                  <a:gd name="connsiteY13" fmla="*/ 924043 h 3317872"/>
                  <a:gd name="connsiteX14" fmla="*/ 336551 w 2425701"/>
                  <a:gd name="connsiteY14" fmla="*/ 666868 h 3317872"/>
                  <a:gd name="connsiteX15" fmla="*/ 250826 w 2425701"/>
                  <a:gd name="connsiteY15" fmla="*/ 276343 h 3317872"/>
                  <a:gd name="connsiteX16" fmla="*/ 374651 w 2425701"/>
                  <a:gd name="connsiteY16" fmla="*/ 118 h 3317872"/>
                  <a:gd name="connsiteX0" fmla="*/ 374651 w 2425879"/>
                  <a:gd name="connsiteY0" fmla="*/ 118 h 3231962"/>
                  <a:gd name="connsiteX1" fmla="*/ 98426 w 2425879"/>
                  <a:gd name="connsiteY1" fmla="*/ 247768 h 3231962"/>
                  <a:gd name="connsiteX2" fmla="*/ 60326 w 2425879"/>
                  <a:gd name="connsiteY2" fmla="*/ 676393 h 3231962"/>
                  <a:gd name="connsiteX3" fmla="*/ 889001 w 2425879"/>
                  <a:gd name="connsiteY3" fmla="*/ 1038343 h 3231962"/>
                  <a:gd name="connsiteX4" fmla="*/ 1727201 w 2425879"/>
                  <a:gd name="connsiteY4" fmla="*/ 1238368 h 3231962"/>
                  <a:gd name="connsiteX5" fmla="*/ 2184401 w 2425879"/>
                  <a:gd name="connsiteY5" fmla="*/ 1857493 h 3231962"/>
                  <a:gd name="connsiteX6" fmla="*/ 1822451 w 2425879"/>
                  <a:gd name="connsiteY6" fmla="*/ 2524243 h 3231962"/>
                  <a:gd name="connsiteX7" fmla="*/ 1993901 w 2425879"/>
                  <a:gd name="connsiteY7" fmla="*/ 3210043 h 3231962"/>
                  <a:gd name="connsiteX8" fmla="*/ 2425701 w 2425879"/>
                  <a:gd name="connsiteY8" fmla="*/ 3019543 h 3231962"/>
                  <a:gd name="connsiteX9" fmla="*/ 2051051 w 2425879"/>
                  <a:gd name="connsiteY9" fmla="*/ 2590918 h 3231962"/>
                  <a:gd name="connsiteX10" fmla="*/ 2374901 w 2425879"/>
                  <a:gd name="connsiteY10" fmla="*/ 1914643 h 3231962"/>
                  <a:gd name="connsiteX11" fmla="*/ 2003426 w 2425879"/>
                  <a:gd name="connsiteY11" fmla="*/ 1133593 h 3231962"/>
                  <a:gd name="connsiteX12" fmla="*/ 1279526 w 2425879"/>
                  <a:gd name="connsiteY12" fmla="*/ 924043 h 3231962"/>
                  <a:gd name="connsiteX13" fmla="*/ 336551 w 2425879"/>
                  <a:gd name="connsiteY13" fmla="*/ 666868 h 3231962"/>
                  <a:gd name="connsiteX14" fmla="*/ 250826 w 2425879"/>
                  <a:gd name="connsiteY14" fmla="*/ 276343 h 3231962"/>
                  <a:gd name="connsiteX15" fmla="*/ 374651 w 2425879"/>
                  <a:gd name="connsiteY15" fmla="*/ 118 h 3231962"/>
                  <a:gd name="connsiteX0" fmla="*/ 374651 w 2425879"/>
                  <a:gd name="connsiteY0" fmla="*/ 118 h 3233973"/>
                  <a:gd name="connsiteX1" fmla="*/ 98426 w 2425879"/>
                  <a:gd name="connsiteY1" fmla="*/ 247768 h 3233973"/>
                  <a:gd name="connsiteX2" fmla="*/ 60326 w 2425879"/>
                  <a:gd name="connsiteY2" fmla="*/ 676393 h 3233973"/>
                  <a:gd name="connsiteX3" fmla="*/ 889001 w 2425879"/>
                  <a:gd name="connsiteY3" fmla="*/ 1038343 h 3233973"/>
                  <a:gd name="connsiteX4" fmla="*/ 1727201 w 2425879"/>
                  <a:gd name="connsiteY4" fmla="*/ 1238368 h 3233973"/>
                  <a:gd name="connsiteX5" fmla="*/ 2184401 w 2425879"/>
                  <a:gd name="connsiteY5" fmla="*/ 1857493 h 3233973"/>
                  <a:gd name="connsiteX6" fmla="*/ 1822451 w 2425879"/>
                  <a:gd name="connsiteY6" fmla="*/ 2524243 h 3233973"/>
                  <a:gd name="connsiteX7" fmla="*/ 1993901 w 2425879"/>
                  <a:gd name="connsiteY7" fmla="*/ 3210043 h 3233973"/>
                  <a:gd name="connsiteX8" fmla="*/ 2425701 w 2425879"/>
                  <a:gd name="connsiteY8" fmla="*/ 3032243 h 3233973"/>
                  <a:gd name="connsiteX9" fmla="*/ 2051051 w 2425879"/>
                  <a:gd name="connsiteY9" fmla="*/ 2590918 h 3233973"/>
                  <a:gd name="connsiteX10" fmla="*/ 2374901 w 2425879"/>
                  <a:gd name="connsiteY10" fmla="*/ 1914643 h 3233973"/>
                  <a:gd name="connsiteX11" fmla="*/ 2003426 w 2425879"/>
                  <a:gd name="connsiteY11" fmla="*/ 1133593 h 3233973"/>
                  <a:gd name="connsiteX12" fmla="*/ 1279526 w 2425879"/>
                  <a:gd name="connsiteY12" fmla="*/ 924043 h 3233973"/>
                  <a:gd name="connsiteX13" fmla="*/ 336551 w 2425879"/>
                  <a:gd name="connsiteY13" fmla="*/ 666868 h 3233973"/>
                  <a:gd name="connsiteX14" fmla="*/ 250826 w 2425879"/>
                  <a:gd name="connsiteY14" fmla="*/ 276343 h 3233973"/>
                  <a:gd name="connsiteX15" fmla="*/ 374651 w 2425879"/>
                  <a:gd name="connsiteY15" fmla="*/ 118 h 3233973"/>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27201 w 2425896"/>
                  <a:gd name="connsiteY4" fmla="*/ 1238368 h 3244365"/>
                  <a:gd name="connsiteX5" fmla="*/ 2184401 w 2425896"/>
                  <a:gd name="connsiteY5" fmla="*/ 1857493 h 3244365"/>
                  <a:gd name="connsiteX6" fmla="*/ 1822451 w 2425896"/>
                  <a:gd name="connsiteY6" fmla="*/ 2524243 h 3244365"/>
                  <a:gd name="connsiteX7" fmla="*/ 1993901 w 2425896"/>
                  <a:gd name="connsiteY7" fmla="*/ 3210043 h 3244365"/>
                  <a:gd name="connsiteX8" fmla="*/ 2425701 w 2425896"/>
                  <a:gd name="connsiteY8" fmla="*/ 3032243 h 3244365"/>
                  <a:gd name="connsiteX9" fmla="*/ 2051051 w 2425896"/>
                  <a:gd name="connsiteY9" fmla="*/ 2590918 h 3244365"/>
                  <a:gd name="connsiteX10" fmla="*/ 23749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27201 w 2425896"/>
                  <a:gd name="connsiteY4" fmla="*/ 1238368 h 3244365"/>
                  <a:gd name="connsiteX5" fmla="*/ 2184401 w 2425896"/>
                  <a:gd name="connsiteY5" fmla="*/ 1857493 h 3244365"/>
                  <a:gd name="connsiteX6" fmla="*/ 1822451 w 2425896"/>
                  <a:gd name="connsiteY6" fmla="*/ 2524243 h 3244365"/>
                  <a:gd name="connsiteX7" fmla="*/ 1993901 w 2425896"/>
                  <a:gd name="connsiteY7" fmla="*/ 3210043 h 3244365"/>
                  <a:gd name="connsiteX8" fmla="*/ 2425701 w 2425896"/>
                  <a:gd name="connsiteY8" fmla="*/ 3032243 h 3244365"/>
                  <a:gd name="connsiteX9" fmla="*/ 2051051 w 2425896"/>
                  <a:gd name="connsiteY9" fmla="*/ 2590918 h 3244365"/>
                  <a:gd name="connsiteX10" fmla="*/ 23749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27201 w 2425896"/>
                  <a:gd name="connsiteY4" fmla="*/ 1238368 h 3244365"/>
                  <a:gd name="connsiteX5" fmla="*/ 2184401 w 2425896"/>
                  <a:gd name="connsiteY5" fmla="*/ 1857493 h 3244365"/>
                  <a:gd name="connsiteX6" fmla="*/ 1822451 w 2425896"/>
                  <a:gd name="connsiteY6" fmla="*/ 2524243 h 3244365"/>
                  <a:gd name="connsiteX7" fmla="*/ 1993901 w 2425896"/>
                  <a:gd name="connsiteY7" fmla="*/ 3210043 h 3244365"/>
                  <a:gd name="connsiteX8" fmla="*/ 2425701 w 2425896"/>
                  <a:gd name="connsiteY8" fmla="*/ 3032243 h 3244365"/>
                  <a:gd name="connsiteX9" fmla="*/ 2051051 w 2425896"/>
                  <a:gd name="connsiteY9" fmla="*/ 2590918 h 3244365"/>
                  <a:gd name="connsiteX10" fmla="*/ 23749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27201 w 2425896"/>
                  <a:gd name="connsiteY4" fmla="*/ 1238368 h 3244365"/>
                  <a:gd name="connsiteX5" fmla="*/ 2184401 w 2425896"/>
                  <a:gd name="connsiteY5" fmla="*/ 1857493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90918 h 3244365"/>
                  <a:gd name="connsiteX10" fmla="*/ 23749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27201 w 2425896"/>
                  <a:gd name="connsiteY4" fmla="*/ 1238368 h 3244365"/>
                  <a:gd name="connsiteX5" fmla="*/ 2184401 w 2425896"/>
                  <a:gd name="connsiteY5" fmla="*/ 1857493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749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27201 w 2425896"/>
                  <a:gd name="connsiteY4" fmla="*/ 1238368 h 3244365"/>
                  <a:gd name="connsiteX5" fmla="*/ 2200276 w 2425896"/>
                  <a:gd name="connsiteY5" fmla="*/ 1908293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749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27201 w 2425896"/>
                  <a:gd name="connsiteY4" fmla="*/ 1238368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749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27201 w 2425896"/>
                  <a:gd name="connsiteY4" fmla="*/ 1238368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2003426 w 2425896"/>
                  <a:gd name="connsiteY11" fmla="*/ 113359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962151 w 2425896"/>
                  <a:gd name="connsiteY11" fmla="*/ 1330443 h 3244365"/>
                  <a:gd name="connsiteX12" fmla="*/ 1279526 w 2425896"/>
                  <a:gd name="connsiteY12" fmla="*/ 9240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962151 w 2425896"/>
                  <a:gd name="connsiteY11" fmla="*/ 1330443 h 3244365"/>
                  <a:gd name="connsiteX12" fmla="*/ 1257301 w 2425896"/>
                  <a:gd name="connsiteY12" fmla="*/ 9875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962151 w 2425896"/>
                  <a:gd name="connsiteY11" fmla="*/ 1330443 h 3244365"/>
                  <a:gd name="connsiteX12" fmla="*/ 1257301 w 2425896"/>
                  <a:gd name="connsiteY12" fmla="*/ 9875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962151 w 2425896"/>
                  <a:gd name="connsiteY11" fmla="*/ 1330443 h 3244365"/>
                  <a:gd name="connsiteX12" fmla="*/ 1257301 w 2425896"/>
                  <a:gd name="connsiteY12" fmla="*/ 9875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885951 w 2425896"/>
                  <a:gd name="connsiteY11" fmla="*/ 1333618 h 3244365"/>
                  <a:gd name="connsiteX12" fmla="*/ 1257301 w 2425896"/>
                  <a:gd name="connsiteY12" fmla="*/ 987543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885951 w 2425896"/>
                  <a:gd name="connsiteY11" fmla="*/ 1333618 h 3244365"/>
                  <a:gd name="connsiteX12" fmla="*/ 1212851 w 2425896"/>
                  <a:gd name="connsiteY12" fmla="*/ 1003418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885951 w 2425896"/>
                  <a:gd name="connsiteY11" fmla="*/ 1333618 h 3244365"/>
                  <a:gd name="connsiteX12" fmla="*/ 1212851 w 2425896"/>
                  <a:gd name="connsiteY12" fmla="*/ 1003418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885951 w 2425896"/>
                  <a:gd name="connsiteY11" fmla="*/ 1333618 h 3244365"/>
                  <a:gd name="connsiteX12" fmla="*/ 1212851 w 2425896"/>
                  <a:gd name="connsiteY12" fmla="*/ 1003418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74651 w 2425896"/>
                  <a:gd name="connsiteY0" fmla="*/ 118 h 3244365"/>
                  <a:gd name="connsiteX1" fmla="*/ 98426 w 2425896"/>
                  <a:gd name="connsiteY1" fmla="*/ 247768 h 3244365"/>
                  <a:gd name="connsiteX2" fmla="*/ 60326 w 2425896"/>
                  <a:gd name="connsiteY2" fmla="*/ 676393 h 3244365"/>
                  <a:gd name="connsiteX3" fmla="*/ 889001 w 2425896"/>
                  <a:gd name="connsiteY3" fmla="*/ 1038343 h 3244365"/>
                  <a:gd name="connsiteX4" fmla="*/ 1787526 w 2425896"/>
                  <a:gd name="connsiteY4" fmla="*/ 1451093 h 3244365"/>
                  <a:gd name="connsiteX5" fmla="*/ 2139951 w 2425896"/>
                  <a:gd name="connsiteY5" fmla="*/ 1917818 h 3244365"/>
                  <a:gd name="connsiteX6" fmla="*/ 1828801 w 2425896"/>
                  <a:gd name="connsiteY6" fmla="*/ 2571868 h 3244365"/>
                  <a:gd name="connsiteX7" fmla="*/ 1993901 w 2425896"/>
                  <a:gd name="connsiteY7" fmla="*/ 3210043 h 3244365"/>
                  <a:gd name="connsiteX8" fmla="*/ 2425701 w 2425896"/>
                  <a:gd name="connsiteY8" fmla="*/ 3032243 h 3244365"/>
                  <a:gd name="connsiteX9" fmla="*/ 2051051 w 2425896"/>
                  <a:gd name="connsiteY9" fmla="*/ 2568693 h 3244365"/>
                  <a:gd name="connsiteX10" fmla="*/ 2311401 w 2425896"/>
                  <a:gd name="connsiteY10" fmla="*/ 1914643 h 3244365"/>
                  <a:gd name="connsiteX11" fmla="*/ 1885951 w 2425896"/>
                  <a:gd name="connsiteY11" fmla="*/ 1333618 h 3244365"/>
                  <a:gd name="connsiteX12" fmla="*/ 1212851 w 2425896"/>
                  <a:gd name="connsiteY12" fmla="*/ 1003418 h 3244365"/>
                  <a:gd name="connsiteX13" fmla="*/ 336551 w 2425896"/>
                  <a:gd name="connsiteY13" fmla="*/ 666868 h 3244365"/>
                  <a:gd name="connsiteX14" fmla="*/ 250826 w 2425896"/>
                  <a:gd name="connsiteY14" fmla="*/ 276343 h 3244365"/>
                  <a:gd name="connsiteX15" fmla="*/ 374651 w 2425896"/>
                  <a:gd name="connsiteY15" fmla="*/ 118 h 3244365"/>
                  <a:gd name="connsiteX0" fmla="*/ 390878 w 2442123"/>
                  <a:gd name="connsiteY0" fmla="*/ 118 h 3244365"/>
                  <a:gd name="connsiteX1" fmla="*/ 114653 w 2442123"/>
                  <a:gd name="connsiteY1" fmla="*/ 247768 h 3244365"/>
                  <a:gd name="connsiteX2" fmla="*/ 76553 w 2442123"/>
                  <a:gd name="connsiteY2" fmla="*/ 676393 h 3244365"/>
                  <a:gd name="connsiteX3" fmla="*/ 1124303 w 2442123"/>
                  <a:gd name="connsiteY3" fmla="*/ 1124068 h 3244365"/>
                  <a:gd name="connsiteX4" fmla="*/ 1803753 w 2442123"/>
                  <a:gd name="connsiteY4" fmla="*/ 1451093 h 3244365"/>
                  <a:gd name="connsiteX5" fmla="*/ 2156178 w 2442123"/>
                  <a:gd name="connsiteY5" fmla="*/ 1917818 h 3244365"/>
                  <a:gd name="connsiteX6" fmla="*/ 1845028 w 2442123"/>
                  <a:gd name="connsiteY6" fmla="*/ 2571868 h 3244365"/>
                  <a:gd name="connsiteX7" fmla="*/ 2010128 w 2442123"/>
                  <a:gd name="connsiteY7" fmla="*/ 3210043 h 3244365"/>
                  <a:gd name="connsiteX8" fmla="*/ 2441928 w 2442123"/>
                  <a:gd name="connsiteY8" fmla="*/ 3032243 h 3244365"/>
                  <a:gd name="connsiteX9" fmla="*/ 2067278 w 2442123"/>
                  <a:gd name="connsiteY9" fmla="*/ 2568693 h 3244365"/>
                  <a:gd name="connsiteX10" fmla="*/ 2327628 w 2442123"/>
                  <a:gd name="connsiteY10" fmla="*/ 1914643 h 3244365"/>
                  <a:gd name="connsiteX11" fmla="*/ 1902178 w 2442123"/>
                  <a:gd name="connsiteY11" fmla="*/ 1333618 h 3244365"/>
                  <a:gd name="connsiteX12" fmla="*/ 1229078 w 2442123"/>
                  <a:gd name="connsiteY12" fmla="*/ 1003418 h 3244365"/>
                  <a:gd name="connsiteX13" fmla="*/ 352778 w 2442123"/>
                  <a:gd name="connsiteY13" fmla="*/ 666868 h 3244365"/>
                  <a:gd name="connsiteX14" fmla="*/ 267053 w 2442123"/>
                  <a:gd name="connsiteY14" fmla="*/ 276343 h 3244365"/>
                  <a:gd name="connsiteX15" fmla="*/ 390878 w 2442123"/>
                  <a:gd name="connsiteY15" fmla="*/ 118 h 3244365"/>
                  <a:gd name="connsiteX0" fmla="*/ 390878 w 2442123"/>
                  <a:gd name="connsiteY0" fmla="*/ 118 h 3244365"/>
                  <a:gd name="connsiteX1" fmla="*/ 114653 w 2442123"/>
                  <a:gd name="connsiteY1" fmla="*/ 247768 h 3244365"/>
                  <a:gd name="connsiteX2" fmla="*/ 76553 w 2442123"/>
                  <a:gd name="connsiteY2" fmla="*/ 676393 h 3244365"/>
                  <a:gd name="connsiteX3" fmla="*/ 1124303 w 2442123"/>
                  <a:gd name="connsiteY3" fmla="*/ 1124068 h 3244365"/>
                  <a:gd name="connsiteX4" fmla="*/ 1803753 w 2442123"/>
                  <a:gd name="connsiteY4" fmla="*/ 1451093 h 3244365"/>
                  <a:gd name="connsiteX5" fmla="*/ 2156178 w 2442123"/>
                  <a:gd name="connsiteY5" fmla="*/ 1917818 h 3244365"/>
                  <a:gd name="connsiteX6" fmla="*/ 1845028 w 2442123"/>
                  <a:gd name="connsiteY6" fmla="*/ 2571868 h 3244365"/>
                  <a:gd name="connsiteX7" fmla="*/ 2010128 w 2442123"/>
                  <a:gd name="connsiteY7" fmla="*/ 3210043 h 3244365"/>
                  <a:gd name="connsiteX8" fmla="*/ 2441928 w 2442123"/>
                  <a:gd name="connsiteY8" fmla="*/ 3032243 h 3244365"/>
                  <a:gd name="connsiteX9" fmla="*/ 2067278 w 2442123"/>
                  <a:gd name="connsiteY9" fmla="*/ 2568693 h 3244365"/>
                  <a:gd name="connsiteX10" fmla="*/ 2327628 w 2442123"/>
                  <a:gd name="connsiteY10" fmla="*/ 1914643 h 3244365"/>
                  <a:gd name="connsiteX11" fmla="*/ 1902178 w 2442123"/>
                  <a:gd name="connsiteY11" fmla="*/ 1333618 h 3244365"/>
                  <a:gd name="connsiteX12" fmla="*/ 1205265 w 2442123"/>
                  <a:gd name="connsiteY12" fmla="*/ 1003418 h 3244365"/>
                  <a:gd name="connsiteX13" fmla="*/ 352778 w 2442123"/>
                  <a:gd name="connsiteY13" fmla="*/ 666868 h 3244365"/>
                  <a:gd name="connsiteX14" fmla="*/ 267053 w 2442123"/>
                  <a:gd name="connsiteY14" fmla="*/ 276343 h 3244365"/>
                  <a:gd name="connsiteX15" fmla="*/ 390878 w 2442123"/>
                  <a:gd name="connsiteY15" fmla="*/ 118 h 3244365"/>
                  <a:gd name="connsiteX0" fmla="*/ 390878 w 2442123"/>
                  <a:gd name="connsiteY0" fmla="*/ 118 h 3244365"/>
                  <a:gd name="connsiteX1" fmla="*/ 114653 w 2442123"/>
                  <a:gd name="connsiteY1" fmla="*/ 247768 h 3244365"/>
                  <a:gd name="connsiteX2" fmla="*/ 76553 w 2442123"/>
                  <a:gd name="connsiteY2" fmla="*/ 676393 h 3244365"/>
                  <a:gd name="connsiteX3" fmla="*/ 1124303 w 2442123"/>
                  <a:gd name="connsiteY3" fmla="*/ 1124068 h 3244365"/>
                  <a:gd name="connsiteX4" fmla="*/ 1803753 w 2442123"/>
                  <a:gd name="connsiteY4" fmla="*/ 1451093 h 3244365"/>
                  <a:gd name="connsiteX5" fmla="*/ 2156178 w 2442123"/>
                  <a:gd name="connsiteY5" fmla="*/ 1917818 h 3244365"/>
                  <a:gd name="connsiteX6" fmla="*/ 1845028 w 2442123"/>
                  <a:gd name="connsiteY6" fmla="*/ 2571868 h 3244365"/>
                  <a:gd name="connsiteX7" fmla="*/ 2010128 w 2442123"/>
                  <a:gd name="connsiteY7" fmla="*/ 3210043 h 3244365"/>
                  <a:gd name="connsiteX8" fmla="*/ 2441928 w 2442123"/>
                  <a:gd name="connsiteY8" fmla="*/ 3032243 h 3244365"/>
                  <a:gd name="connsiteX9" fmla="*/ 2067278 w 2442123"/>
                  <a:gd name="connsiteY9" fmla="*/ 2568693 h 3244365"/>
                  <a:gd name="connsiteX10" fmla="*/ 2327628 w 2442123"/>
                  <a:gd name="connsiteY10" fmla="*/ 1914643 h 3244365"/>
                  <a:gd name="connsiteX11" fmla="*/ 1902178 w 2442123"/>
                  <a:gd name="connsiteY11" fmla="*/ 1333618 h 3244365"/>
                  <a:gd name="connsiteX12" fmla="*/ 1205265 w 2442123"/>
                  <a:gd name="connsiteY12" fmla="*/ 1003418 h 3244365"/>
                  <a:gd name="connsiteX13" fmla="*/ 352778 w 2442123"/>
                  <a:gd name="connsiteY13" fmla="*/ 666868 h 3244365"/>
                  <a:gd name="connsiteX14" fmla="*/ 267053 w 2442123"/>
                  <a:gd name="connsiteY14" fmla="*/ 276343 h 3244365"/>
                  <a:gd name="connsiteX15" fmla="*/ 390878 w 2442123"/>
                  <a:gd name="connsiteY15" fmla="*/ 118 h 3244365"/>
                  <a:gd name="connsiteX0" fmla="*/ 390878 w 2442123"/>
                  <a:gd name="connsiteY0" fmla="*/ 118 h 3244365"/>
                  <a:gd name="connsiteX1" fmla="*/ 114653 w 2442123"/>
                  <a:gd name="connsiteY1" fmla="*/ 247768 h 3244365"/>
                  <a:gd name="connsiteX2" fmla="*/ 76553 w 2442123"/>
                  <a:gd name="connsiteY2" fmla="*/ 676393 h 3244365"/>
                  <a:gd name="connsiteX3" fmla="*/ 1124303 w 2442123"/>
                  <a:gd name="connsiteY3" fmla="*/ 1124068 h 3244365"/>
                  <a:gd name="connsiteX4" fmla="*/ 1803753 w 2442123"/>
                  <a:gd name="connsiteY4" fmla="*/ 1451093 h 3244365"/>
                  <a:gd name="connsiteX5" fmla="*/ 2156178 w 2442123"/>
                  <a:gd name="connsiteY5" fmla="*/ 1917818 h 3244365"/>
                  <a:gd name="connsiteX6" fmla="*/ 1845028 w 2442123"/>
                  <a:gd name="connsiteY6" fmla="*/ 2571868 h 3244365"/>
                  <a:gd name="connsiteX7" fmla="*/ 2010128 w 2442123"/>
                  <a:gd name="connsiteY7" fmla="*/ 3210043 h 3244365"/>
                  <a:gd name="connsiteX8" fmla="*/ 2441928 w 2442123"/>
                  <a:gd name="connsiteY8" fmla="*/ 3032243 h 3244365"/>
                  <a:gd name="connsiteX9" fmla="*/ 2067278 w 2442123"/>
                  <a:gd name="connsiteY9" fmla="*/ 2568693 h 3244365"/>
                  <a:gd name="connsiteX10" fmla="*/ 2327628 w 2442123"/>
                  <a:gd name="connsiteY10" fmla="*/ 1914643 h 3244365"/>
                  <a:gd name="connsiteX11" fmla="*/ 1902178 w 2442123"/>
                  <a:gd name="connsiteY11" fmla="*/ 1333618 h 3244365"/>
                  <a:gd name="connsiteX12" fmla="*/ 1205265 w 2442123"/>
                  <a:gd name="connsiteY12" fmla="*/ 1003418 h 3244365"/>
                  <a:gd name="connsiteX13" fmla="*/ 352778 w 2442123"/>
                  <a:gd name="connsiteY13" fmla="*/ 666868 h 3244365"/>
                  <a:gd name="connsiteX14" fmla="*/ 267053 w 2442123"/>
                  <a:gd name="connsiteY14" fmla="*/ 276343 h 3244365"/>
                  <a:gd name="connsiteX15" fmla="*/ 390878 w 2442123"/>
                  <a:gd name="connsiteY15" fmla="*/ 118 h 3244365"/>
                  <a:gd name="connsiteX0" fmla="*/ 390878 w 2442123"/>
                  <a:gd name="connsiteY0" fmla="*/ 118 h 3244365"/>
                  <a:gd name="connsiteX1" fmla="*/ 114653 w 2442123"/>
                  <a:gd name="connsiteY1" fmla="*/ 247768 h 3244365"/>
                  <a:gd name="connsiteX2" fmla="*/ 76553 w 2442123"/>
                  <a:gd name="connsiteY2" fmla="*/ 676393 h 3244365"/>
                  <a:gd name="connsiteX3" fmla="*/ 1124303 w 2442123"/>
                  <a:gd name="connsiteY3" fmla="*/ 1124068 h 3244365"/>
                  <a:gd name="connsiteX4" fmla="*/ 1803753 w 2442123"/>
                  <a:gd name="connsiteY4" fmla="*/ 1451093 h 3244365"/>
                  <a:gd name="connsiteX5" fmla="*/ 2156178 w 2442123"/>
                  <a:gd name="connsiteY5" fmla="*/ 1917818 h 3244365"/>
                  <a:gd name="connsiteX6" fmla="*/ 1845028 w 2442123"/>
                  <a:gd name="connsiteY6" fmla="*/ 2571868 h 3244365"/>
                  <a:gd name="connsiteX7" fmla="*/ 2010128 w 2442123"/>
                  <a:gd name="connsiteY7" fmla="*/ 3210043 h 3244365"/>
                  <a:gd name="connsiteX8" fmla="*/ 2441928 w 2442123"/>
                  <a:gd name="connsiteY8" fmla="*/ 3032243 h 3244365"/>
                  <a:gd name="connsiteX9" fmla="*/ 2067278 w 2442123"/>
                  <a:gd name="connsiteY9" fmla="*/ 2568693 h 3244365"/>
                  <a:gd name="connsiteX10" fmla="*/ 2327628 w 2442123"/>
                  <a:gd name="connsiteY10" fmla="*/ 1914643 h 3244365"/>
                  <a:gd name="connsiteX11" fmla="*/ 1902178 w 2442123"/>
                  <a:gd name="connsiteY11" fmla="*/ 1333618 h 3244365"/>
                  <a:gd name="connsiteX12" fmla="*/ 1205265 w 2442123"/>
                  <a:gd name="connsiteY12" fmla="*/ 1003418 h 3244365"/>
                  <a:gd name="connsiteX13" fmla="*/ 281340 w 2442123"/>
                  <a:gd name="connsiteY13" fmla="*/ 628768 h 3244365"/>
                  <a:gd name="connsiteX14" fmla="*/ 267053 w 2442123"/>
                  <a:gd name="connsiteY14" fmla="*/ 276343 h 3244365"/>
                  <a:gd name="connsiteX15" fmla="*/ 390878 w 2442123"/>
                  <a:gd name="connsiteY15" fmla="*/ 118 h 3244365"/>
                  <a:gd name="connsiteX0" fmla="*/ 420529 w 2443199"/>
                  <a:gd name="connsiteY0" fmla="*/ 112 h 3253884"/>
                  <a:gd name="connsiteX1" fmla="*/ 115729 w 2443199"/>
                  <a:gd name="connsiteY1" fmla="*/ 257287 h 3253884"/>
                  <a:gd name="connsiteX2" fmla="*/ 77629 w 2443199"/>
                  <a:gd name="connsiteY2" fmla="*/ 685912 h 3253884"/>
                  <a:gd name="connsiteX3" fmla="*/ 1125379 w 2443199"/>
                  <a:gd name="connsiteY3" fmla="*/ 1133587 h 3253884"/>
                  <a:gd name="connsiteX4" fmla="*/ 1804829 w 2443199"/>
                  <a:gd name="connsiteY4" fmla="*/ 1460612 h 3253884"/>
                  <a:gd name="connsiteX5" fmla="*/ 2157254 w 2443199"/>
                  <a:gd name="connsiteY5" fmla="*/ 1927337 h 3253884"/>
                  <a:gd name="connsiteX6" fmla="*/ 1846104 w 2443199"/>
                  <a:gd name="connsiteY6" fmla="*/ 2581387 h 3253884"/>
                  <a:gd name="connsiteX7" fmla="*/ 2011204 w 2443199"/>
                  <a:gd name="connsiteY7" fmla="*/ 3219562 h 3253884"/>
                  <a:gd name="connsiteX8" fmla="*/ 2443004 w 2443199"/>
                  <a:gd name="connsiteY8" fmla="*/ 3041762 h 3253884"/>
                  <a:gd name="connsiteX9" fmla="*/ 2068354 w 2443199"/>
                  <a:gd name="connsiteY9" fmla="*/ 2578212 h 3253884"/>
                  <a:gd name="connsiteX10" fmla="*/ 2328704 w 2443199"/>
                  <a:gd name="connsiteY10" fmla="*/ 1924162 h 3253884"/>
                  <a:gd name="connsiteX11" fmla="*/ 1903254 w 2443199"/>
                  <a:gd name="connsiteY11" fmla="*/ 1343137 h 3253884"/>
                  <a:gd name="connsiteX12" fmla="*/ 1206341 w 2443199"/>
                  <a:gd name="connsiteY12" fmla="*/ 1012937 h 3253884"/>
                  <a:gd name="connsiteX13" fmla="*/ 282416 w 2443199"/>
                  <a:gd name="connsiteY13" fmla="*/ 638287 h 3253884"/>
                  <a:gd name="connsiteX14" fmla="*/ 268129 w 2443199"/>
                  <a:gd name="connsiteY14" fmla="*/ 285862 h 3253884"/>
                  <a:gd name="connsiteX15" fmla="*/ 420529 w 2443199"/>
                  <a:gd name="connsiteY15" fmla="*/ 112 h 3253884"/>
                  <a:gd name="connsiteX0" fmla="*/ 420529 w 2443199"/>
                  <a:gd name="connsiteY0" fmla="*/ 112 h 3253884"/>
                  <a:gd name="connsiteX1" fmla="*/ 115729 w 2443199"/>
                  <a:gd name="connsiteY1" fmla="*/ 257287 h 3253884"/>
                  <a:gd name="connsiteX2" fmla="*/ 77629 w 2443199"/>
                  <a:gd name="connsiteY2" fmla="*/ 685912 h 3253884"/>
                  <a:gd name="connsiteX3" fmla="*/ 1125379 w 2443199"/>
                  <a:gd name="connsiteY3" fmla="*/ 1133587 h 3253884"/>
                  <a:gd name="connsiteX4" fmla="*/ 1804829 w 2443199"/>
                  <a:gd name="connsiteY4" fmla="*/ 1460612 h 3253884"/>
                  <a:gd name="connsiteX5" fmla="*/ 2157254 w 2443199"/>
                  <a:gd name="connsiteY5" fmla="*/ 1927337 h 3253884"/>
                  <a:gd name="connsiteX6" fmla="*/ 1846104 w 2443199"/>
                  <a:gd name="connsiteY6" fmla="*/ 2581387 h 3253884"/>
                  <a:gd name="connsiteX7" fmla="*/ 2011204 w 2443199"/>
                  <a:gd name="connsiteY7" fmla="*/ 3219562 h 3253884"/>
                  <a:gd name="connsiteX8" fmla="*/ 2443004 w 2443199"/>
                  <a:gd name="connsiteY8" fmla="*/ 3041762 h 3253884"/>
                  <a:gd name="connsiteX9" fmla="*/ 2068354 w 2443199"/>
                  <a:gd name="connsiteY9" fmla="*/ 2578212 h 3253884"/>
                  <a:gd name="connsiteX10" fmla="*/ 2328704 w 2443199"/>
                  <a:gd name="connsiteY10" fmla="*/ 1924162 h 3253884"/>
                  <a:gd name="connsiteX11" fmla="*/ 1903254 w 2443199"/>
                  <a:gd name="connsiteY11" fmla="*/ 1343137 h 3253884"/>
                  <a:gd name="connsiteX12" fmla="*/ 1206341 w 2443199"/>
                  <a:gd name="connsiteY12" fmla="*/ 1012937 h 3253884"/>
                  <a:gd name="connsiteX13" fmla="*/ 282416 w 2443199"/>
                  <a:gd name="connsiteY13" fmla="*/ 638287 h 3253884"/>
                  <a:gd name="connsiteX14" fmla="*/ 268129 w 2443199"/>
                  <a:gd name="connsiteY14" fmla="*/ 285862 h 3253884"/>
                  <a:gd name="connsiteX15" fmla="*/ 420529 w 2443199"/>
                  <a:gd name="connsiteY15" fmla="*/ 112 h 3253884"/>
                  <a:gd name="connsiteX0" fmla="*/ 509609 w 2446554"/>
                  <a:gd name="connsiteY0" fmla="*/ 109 h 3258644"/>
                  <a:gd name="connsiteX1" fmla="*/ 119084 w 2446554"/>
                  <a:gd name="connsiteY1" fmla="*/ 262047 h 3258644"/>
                  <a:gd name="connsiteX2" fmla="*/ 80984 w 2446554"/>
                  <a:gd name="connsiteY2" fmla="*/ 690672 h 3258644"/>
                  <a:gd name="connsiteX3" fmla="*/ 1128734 w 2446554"/>
                  <a:gd name="connsiteY3" fmla="*/ 1138347 h 3258644"/>
                  <a:gd name="connsiteX4" fmla="*/ 1808184 w 2446554"/>
                  <a:gd name="connsiteY4" fmla="*/ 1465372 h 3258644"/>
                  <a:gd name="connsiteX5" fmla="*/ 2160609 w 2446554"/>
                  <a:gd name="connsiteY5" fmla="*/ 1932097 h 3258644"/>
                  <a:gd name="connsiteX6" fmla="*/ 1849459 w 2446554"/>
                  <a:gd name="connsiteY6" fmla="*/ 2586147 h 3258644"/>
                  <a:gd name="connsiteX7" fmla="*/ 2014559 w 2446554"/>
                  <a:gd name="connsiteY7" fmla="*/ 3224322 h 3258644"/>
                  <a:gd name="connsiteX8" fmla="*/ 2446359 w 2446554"/>
                  <a:gd name="connsiteY8" fmla="*/ 3046522 h 3258644"/>
                  <a:gd name="connsiteX9" fmla="*/ 2071709 w 2446554"/>
                  <a:gd name="connsiteY9" fmla="*/ 2582972 h 3258644"/>
                  <a:gd name="connsiteX10" fmla="*/ 2332059 w 2446554"/>
                  <a:gd name="connsiteY10" fmla="*/ 1928922 h 3258644"/>
                  <a:gd name="connsiteX11" fmla="*/ 1906609 w 2446554"/>
                  <a:gd name="connsiteY11" fmla="*/ 1347897 h 3258644"/>
                  <a:gd name="connsiteX12" fmla="*/ 1209696 w 2446554"/>
                  <a:gd name="connsiteY12" fmla="*/ 1017697 h 3258644"/>
                  <a:gd name="connsiteX13" fmla="*/ 285771 w 2446554"/>
                  <a:gd name="connsiteY13" fmla="*/ 643047 h 3258644"/>
                  <a:gd name="connsiteX14" fmla="*/ 271484 w 2446554"/>
                  <a:gd name="connsiteY14" fmla="*/ 290622 h 3258644"/>
                  <a:gd name="connsiteX15" fmla="*/ 509609 w 2446554"/>
                  <a:gd name="connsiteY15" fmla="*/ 109 h 3258644"/>
                  <a:gd name="connsiteX0" fmla="*/ 501529 w 2438474"/>
                  <a:gd name="connsiteY0" fmla="*/ 203 h 3258738"/>
                  <a:gd name="connsiteX1" fmla="*/ 134816 w 2438474"/>
                  <a:gd name="connsiteY1" fmla="*/ 252616 h 3258738"/>
                  <a:gd name="connsiteX2" fmla="*/ 72904 w 2438474"/>
                  <a:gd name="connsiteY2" fmla="*/ 690766 h 3258738"/>
                  <a:gd name="connsiteX3" fmla="*/ 1120654 w 2438474"/>
                  <a:gd name="connsiteY3" fmla="*/ 1138441 h 3258738"/>
                  <a:gd name="connsiteX4" fmla="*/ 1800104 w 2438474"/>
                  <a:gd name="connsiteY4" fmla="*/ 1465466 h 3258738"/>
                  <a:gd name="connsiteX5" fmla="*/ 2152529 w 2438474"/>
                  <a:gd name="connsiteY5" fmla="*/ 1932191 h 3258738"/>
                  <a:gd name="connsiteX6" fmla="*/ 1841379 w 2438474"/>
                  <a:gd name="connsiteY6" fmla="*/ 2586241 h 3258738"/>
                  <a:gd name="connsiteX7" fmla="*/ 2006479 w 2438474"/>
                  <a:gd name="connsiteY7" fmla="*/ 3224416 h 3258738"/>
                  <a:gd name="connsiteX8" fmla="*/ 2438279 w 2438474"/>
                  <a:gd name="connsiteY8" fmla="*/ 3046616 h 3258738"/>
                  <a:gd name="connsiteX9" fmla="*/ 2063629 w 2438474"/>
                  <a:gd name="connsiteY9" fmla="*/ 2583066 h 3258738"/>
                  <a:gd name="connsiteX10" fmla="*/ 2323979 w 2438474"/>
                  <a:gd name="connsiteY10" fmla="*/ 1929016 h 3258738"/>
                  <a:gd name="connsiteX11" fmla="*/ 1898529 w 2438474"/>
                  <a:gd name="connsiteY11" fmla="*/ 1347991 h 3258738"/>
                  <a:gd name="connsiteX12" fmla="*/ 1201616 w 2438474"/>
                  <a:gd name="connsiteY12" fmla="*/ 1017791 h 3258738"/>
                  <a:gd name="connsiteX13" fmla="*/ 277691 w 2438474"/>
                  <a:gd name="connsiteY13" fmla="*/ 643141 h 3258738"/>
                  <a:gd name="connsiteX14" fmla="*/ 263404 w 2438474"/>
                  <a:gd name="connsiteY14" fmla="*/ 290716 h 3258738"/>
                  <a:gd name="connsiteX15" fmla="*/ 501529 w 2438474"/>
                  <a:gd name="connsiteY15" fmla="*/ 203 h 3258738"/>
                  <a:gd name="connsiteX0" fmla="*/ 506838 w 2443783"/>
                  <a:gd name="connsiteY0" fmla="*/ 203 h 3258738"/>
                  <a:gd name="connsiteX1" fmla="*/ 140125 w 2443783"/>
                  <a:gd name="connsiteY1" fmla="*/ 252616 h 3258738"/>
                  <a:gd name="connsiteX2" fmla="*/ 78213 w 2443783"/>
                  <a:gd name="connsiteY2" fmla="*/ 690766 h 3258738"/>
                  <a:gd name="connsiteX3" fmla="*/ 1125963 w 2443783"/>
                  <a:gd name="connsiteY3" fmla="*/ 1138441 h 3258738"/>
                  <a:gd name="connsiteX4" fmla="*/ 1805413 w 2443783"/>
                  <a:gd name="connsiteY4" fmla="*/ 1465466 h 3258738"/>
                  <a:gd name="connsiteX5" fmla="*/ 2157838 w 2443783"/>
                  <a:gd name="connsiteY5" fmla="*/ 1932191 h 3258738"/>
                  <a:gd name="connsiteX6" fmla="*/ 1846688 w 2443783"/>
                  <a:gd name="connsiteY6" fmla="*/ 2586241 h 3258738"/>
                  <a:gd name="connsiteX7" fmla="*/ 2011788 w 2443783"/>
                  <a:gd name="connsiteY7" fmla="*/ 3224416 h 3258738"/>
                  <a:gd name="connsiteX8" fmla="*/ 2443588 w 2443783"/>
                  <a:gd name="connsiteY8" fmla="*/ 3046616 h 3258738"/>
                  <a:gd name="connsiteX9" fmla="*/ 2068938 w 2443783"/>
                  <a:gd name="connsiteY9" fmla="*/ 2583066 h 3258738"/>
                  <a:gd name="connsiteX10" fmla="*/ 2329288 w 2443783"/>
                  <a:gd name="connsiteY10" fmla="*/ 1929016 h 3258738"/>
                  <a:gd name="connsiteX11" fmla="*/ 1903838 w 2443783"/>
                  <a:gd name="connsiteY11" fmla="*/ 1347991 h 3258738"/>
                  <a:gd name="connsiteX12" fmla="*/ 1206925 w 2443783"/>
                  <a:gd name="connsiteY12" fmla="*/ 1017791 h 3258738"/>
                  <a:gd name="connsiteX13" fmla="*/ 283000 w 2443783"/>
                  <a:gd name="connsiteY13" fmla="*/ 643141 h 3258738"/>
                  <a:gd name="connsiteX14" fmla="*/ 268713 w 2443783"/>
                  <a:gd name="connsiteY14" fmla="*/ 290716 h 3258738"/>
                  <a:gd name="connsiteX15" fmla="*/ 506838 w 2443783"/>
                  <a:gd name="connsiteY15" fmla="*/ 203 h 3258738"/>
                  <a:gd name="connsiteX0" fmla="*/ 506838 w 2443783"/>
                  <a:gd name="connsiteY0" fmla="*/ 203 h 3258738"/>
                  <a:gd name="connsiteX1" fmla="*/ 140125 w 2443783"/>
                  <a:gd name="connsiteY1" fmla="*/ 252616 h 3258738"/>
                  <a:gd name="connsiteX2" fmla="*/ 78213 w 2443783"/>
                  <a:gd name="connsiteY2" fmla="*/ 690766 h 3258738"/>
                  <a:gd name="connsiteX3" fmla="*/ 1125963 w 2443783"/>
                  <a:gd name="connsiteY3" fmla="*/ 1138441 h 3258738"/>
                  <a:gd name="connsiteX4" fmla="*/ 1805413 w 2443783"/>
                  <a:gd name="connsiteY4" fmla="*/ 1465466 h 3258738"/>
                  <a:gd name="connsiteX5" fmla="*/ 2157838 w 2443783"/>
                  <a:gd name="connsiteY5" fmla="*/ 1932191 h 3258738"/>
                  <a:gd name="connsiteX6" fmla="*/ 1846688 w 2443783"/>
                  <a:gd name="connsiteY6" fmla="*/ 2586241 h 3258738"/>
                  <a:gd name="connsiteX7" fmla="*/ 2011788 w 2443783"/>
                  <a:gd name="connsiteY7" fmla="*/ 3224416 h 3258738"/>
                  <a:gd name="connsiteX8" fmla="*/ 2443588 w 2443783"/>
                  <a:gd name="connsiteY8" fmla="*/ 3046616 h 3258738"/>
                  <a:gd name="connsiteX9" fmla="*/ 2068938 w 2443783"/>
                  <a:gd name="connsiteY9" fmla="*/ 2583066 h 3258738"/>
                  <a:gd name="connsiteX10" fmla="*/ 2329288 w 2443783"/>
                  <a:gd name="connsiteY10" fmla="*/ 1929016 h 3258738"/>
                  <a:gd name="connsiteX11" fmla="*/ 1903838 w 2443783"/>
                  <a:gd name="connsiteY11" fmla="*/ 1347991 h 3258738"/>
                  <a:gd name="connsiteX12" fmla="*/ 1206925 w 2443783"/>
                  <a:gd name="connsiteY12" fmla="*/ 1017791 h 3258738"/>
                  <a:gd name="connsiteX13" fmla="*/ 283000 w 2443783"/>
                  <a:gd name="connsiteY13" fmla="*/ 643141 h 3258738"/>
                  <a:gd name="connsiteX14" fmla="*/ 268713 w 2443783"/>
                  <a:gd name="connsiteY14" fmla="*/ 290716 h 3258738"/>
                  <a:gd name="connsiteX15" fmla="*/ 506838 w 2443783"/>
                  <a:gd name="connsiteY15" fmla="*/ 203 h 3258738"/>
                  <a:gd name="connsiteX0" fmla="*/ 506838 w 2443783"/>
                  <a:gd name="connsiteY0" fmla="*/ 845 h 3259380"/>
                  <a:gd name="connsiteX1" fmla="*/ 140125 w 2443783"/>
                  <a:gd name="connsiteY1" fmla="*/ 253258 h 3259380"/>
                  <a:gd name="connsiteX2" fmla="*/ 78213 w 2443783"/>
                  <a:gd name="connsiteY2" fmla="*/ 691408 h 3259380"/>
                  <a:gd name="connsiteX3" fmla="*/ 1125963 w 2443783"/>
                  <a:gd name="connsiteY3" fmla="*/ 1139083 h 3259380"/>
                  <a:gd name="connsiteX4" fmla="*/ 1805413 w 2443783"/>
                  <a:gd name="connsiteY4" fmla="*/ 1466108 h 3259380"/>
                  <a:gd name="connsiteX5" fmla="*/ 2157838 w 2443783"/>
                  <a:gd name="connsiteY5" fmla="*/ 1932833 h 3259380"/>
                  <a:gd name="connsiteX6" fmla="*/ 1846688 w 2443783"/>
                  <a:gd name="connsiteY6" fmla="*/ 2586883 h 3259380"/>
                  <a:gd name="connsiteX7" fmla="*/ 2011788 w 2443783"/>
                  <a:gd name="connsiteY7" fmla="*/ 3225058 h 3259380"/>
                  <a:gd name="connsiteX8" fmla="*/ 2443588 w 2443783"/>
                  <a:gd name="connsiteY8" fmla="*/ 3047258 h 3259380"/>
                  <a:gd name="connsiteX9" fmla="*/ 2068938 w 2443783"/>
                  <a:gd name="connsiteY9" fmla="*/ 2583708 h 3259380"/>
                  <a:gd name="connsiteX10" fmla="*/ 2329288 w 2443783"/>
                  <a:gd name="connsiteY10" fmla="*/ 1929658 h 3259380"/>
                  <a:gd name="connsiteX11" fmla="*/ 1903838 w 2443783"/>
                  <a:gd name="connsiteY11" fmla="*/ 1348633 h 3259380"/>
                  <a:gd name="connsiteX12" fmla="*/ 1206925 w 2443783"/>
                  <a:gd name="connsiteY12" fmla="*/ 1018433 h 3259380"/>
                  <a:gd name="connsiteX13" fmla="*/ 283000 w 2443783"/>
                  <a:gd name="connsiteY13" fmla="*/ 643783 h 3259380"/>
                  <a:gd name="connsiteX14" fmla="*/ 206800 w 2443783"/>
                  <a:gd name="connsiteY14" fmla="*/ 334220 h 3259380"/>
                  <a:gd name="connsiteX15" fmla="*/ 506838 w 2443783"/>
                  <a:gd name="connsiteY15" fmla="*/ 845 h 3259380"/>
                  <a:gd name="connsiteX0" fmla="*/ 509106 w 2446051"/>
                  <a:gd name="connsiteY0" fmla="*/ 845 h 3259380"/>
                  <a:gd name="connsiteX1" fmla="*/ 142393 w 2446051"/>
                  <a:gd name="connsiteY1" fmla="*/ 253258 h 3259380"/>
                  <a:gd name="connsiteX2" fmla="*/ 80481 w 2446051"/>
                  <a:gd name="connsiteY2" fmla="*/ 691408 h 3259380"/>
                  <a:gd name="connsiteX3" fmla="*/ 1128231 w 2446051"/>
                  <a:gd name="connsiteY3" fmla="*/ 1139083 h 3259380"/>
                  <a:gd name="connsiteX4" fmla="*/ 1807681 w 2446051"/>
                  <a:gd name="connsiteY4" fmla="*/ 1466108 h 3259380"/>
                  <a:gd name="connsiteX5" fmla="*/ 2160106 w 2446051"/>
                  <a:gd name="connsiteY5" fmla="*/ 1932833 h 3259380"/>
                  <a:gd name="connsiteX6" fmla="*/ 1848956 w 2446051"/>
                  <a:gd name="connsiteY6" fmla="*/ 2586883 h 3259380"/>
                  <a:gd name="connsiteX7" fmla="*/ 2014056 w 2446051"/>
                  <a:gd name="connsiteY7" fmla="*/ 3225058 h 3259380"/>
                  <a:gd name="connsiteX8" fmla="*/ 2445856 w 2446051"/>
                  <a:gd name="connsiteY8" fmla="*/ 3047258 h 3259380"/>
                  <a:gd name="connsiteX9" fmla="*/ 2071206 w 2446051"/>
                  <a:gd name="connsiteY9" fmla="*/ 2583708 h 3259380"/>
                  <a:gd name="connsiteX10" fmla="*/ 2331556 w 2446051"/>
                  <a:gd name="connsiteY10" fmla="*/ 1929658 h 3259380"/>
                  <a:gd name="connsiteX11" fmla="*/ 1906106 w 2446051"/>
                  <a:gd name="connsiteY11" fmla="*/ 1348633 h 3259380"/>
                  <a:gd name="connsiteX12" fmla="*/ 1209193 w 2446051"/>
                  <a:gd name="connsiteY12" fmla="*/ 1018433 h 3259380"/>
                  <a:gd name="connsiteX13" fmla="*/ 285268 w 2446051"/>
                  <a:gd name="connsiteY13" fmla="*/ 643783 h 3259380"/>
                  <a:gd name="connsiteX14" fmla="*/ 209068 w 2446051"/>
                  <a:gd name="connsiteY14" fmla="*/ 334220 h 3259380"/>
                  <a:gd name="connsiteX15" fmla="*/ 509106 w 2446051"/>
                  <a:gd name="connsiteY15" fmla="*/ 845 h 3259380"/>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01124 w 2441069"/>
                  <a:gd name="connsiteY11" fmla="*/ 1348522 h 3259269"/>
                  <a:gd name="connsiteX12" fmla="*/ 1204211 w 2441069"/>
                  <a:gd name="connsiteY12" fmla="*/ 1018322 h 3259269"/>
                  <a:gd name="connsiteX13" fmla="*/ 280286 w 2441069"/>
                  <a:gd name="connsiteY13" fmla="*/ 643672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01124 w 2441069"/>
                  <a:gd name="connsiteY11" fmla="*/ 1348522 h 3259269"/>
                  <a:gd name="connsiteX12" fmla="*/ 1204211 w 2441069"/>
                  <a:gd name="connsiteY12" fmla="*/ 1018322 h 3259269"/>
                  <a:gd name="connsiteX13" fmla="*/ 280286 w 2441069"/>
                  <a:gd name="connsiteY13" fmla="*/ 643672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01124 w 2441069"/>
                  <a:gd name="connsiteY11" fmla="*/ 1348522 h 3259269"/>
                  <a:gd name="connsiteX12" fmla="*/ 1204211 w 2441069"/>
                  <a:gd name="connsiteY12" fmla="*/ 1018322 h 3259269"/>
                  <a:gd name="connsiteX13" fmla="*/ 280286 w 2441069"/>
                  <a:gd name="connsiteY13" fmla="*/ 643672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01124 w 2441069"/>
                  <a:gd name="connsiteY11" fmla="*/ 1348522 h 3259269"/>
                  <a:gd name="connsiteX12" fmla="*/ 1204211 w 2441069"/>
                  <a:gd name="connsiteY12" fmla="*/ 1018322 h 3259269"/>
                  <a:gd name="connsiteX13" fmla="*/ 242186 w 2441069"/>
                  <a:gd name="connsiteY13" fmla="*/ 619860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01124 w 2441069"/>
                  <a:gd name="connsiteY11" fmla="*/ 1348522 h 3259269"/>
                  <a:gd name="connsiteX12" fmla="*/ 1204211 w 2441069"/>
                  <a:gd name="connsiteY12" fmla="*/ 1018322 h 3259269"/>
                  <a:gd name="connsiteX13" fmla="*/ 208848 w 2441069"/>
                  <a:gd name="connsiteY13" fmla="*/ 6484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01124 w 2441069"/>
                  <a:gd name="connsiteY11" fmla="*/ 1348522 h 3259269"/>
                  <a:gd name="connsiteX12" fmla="*/ 1204211 w 2441069"/>
                  <a:gd name="connsiteY12" fmla="*/ 1018322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01124 w 2441069"/>
                  <a:gd name="connsiteY11" fmla="*/ 1348522 h 3259269"/>
                  <a:gd name="connsiteX12" fmla="*/ 1204211 w 2441069"/>
                  <a:gd name="connsiteY12" fmla="*/ 1018322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01124 w 2441069"/>
                  <a:gd name="connsiteY11" fmla="*/ 1348522 h 3259269"/>
                  <a:gd name="connsiteX12" fmla="*/ 1223261 w 2441069"/>
                  <a:gd name="connsiteY12" fmla="*/ 1018322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96374 w 2441069"/>
                  <a:gd name="connsiteY11" fmla="*/ 1400910 h 3259269"/>
                  <a:gd name="connsiteX12" fmla="*/ 1223261 w 2441069"/>
                  <a:gd name="connsiteY12" fmla="*/ 1018322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72562 w 2441069"/>
                  <a:gd name="connsiteY11" fmla="*/ 1410435 h 3259269"/>
                  <a:gd name="connsiteX12" fmla="*/ 1223261 w 2441069"/>
                  <a:gd name="connsiteY12" fmla="*/ 1018322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72562 w 2441069"/>
                  <a:gd name="connsiteY11" fmla="*/ 1410435 h 3259269"/>
                  <a:gd name="connsiteX12" fmla="*/ 1223261 w 2441069"/>
                  <a:gd name="connsiteY12" fmla="*/ 1018322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72562 w 2441069"/>
                  <a:gd name="connsiteY11" fmla="*/ 1410435 h 3259269"/>
                  <a:gd name="connsiteX12" fmla="*/ 1223261 w 2441069"/>
                  <a:gd name="connsiteY12" fmla="*/ 1018322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72562 w 2441069"/>
                  <a:gd name="connsiteY11" fmla="*/ 1410435 h 3259269"/>
                  <a:gd name="connsiteX12" fmla="*/ 1208973 w 2441069"/>
                  <a:gd name="connsiteY12" fmla="*/ 1032609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72562 w 2441069"/>
                  <a:gd name="connsiteY11" fmla="*/ 1410435 h 3259269"/>
                  <a:gd name="connsiteX12" fmla="*/ 1208973 w 2441069"/>
                  <a:gd name="connsiteY12" fmla="*/ 1032609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504124 w 2441069"/>
                  <a:gd name="connsiteY0" fmla="*/ 734 h 3259269"/>
                  <a:gd name="connsiteX1" fmla="*/ 151699 w 2441069"/>
                  <a:gd name="connsiteY1" fmla="*/ 257909 h 3259269"/>
                  <a:gd name="connsiteX2" fmla="*/ 75499 w 2441069"/>
                  <a:gd name="connsiteY2" fmla="*/ 691297 h 3259269"/>
                  <a:gd name="connsiteX3" fmla="*/ 1123249 w 2441069"/>
                  <a:gd name="connsiteY3" fmla="*/ 1138972 h 3259269"/>
                  <a:gd name="connsiteX4" fmla="*/ 1802699 w 2441069"/>
                  <a:gd name="connsiteY4" fmla="*/ 1465997 h 3259269"/>
                  <a:gd name="connsiteX5" fmla="*/ 2155124 w 2441069"/>
                  <a:gd name="connsiteY5" fmla="*/ 1932722 h 3259269"/>
                  <a:gd name="connsiteX6" fmla="*/ 1843974 w 2441069"/>
                  <a:gd name="connsiteY6" fmla="*/ 2586772 h 3259269"/>
                  <a:gd name="connsiteX7" fmla="*/ 2009074 w 2441069"/>
                  <a:gd name="connsiteY7" fmla="*/ 3224947 h 3259269"/>
                  <a:gd name="connsiteX8" fmla="*/ 2440874 w 2441069"/>
                  <a:gd name="connsiteY8" fmla="*/ 3047147 h 3259269"/>
                  <a:gd name="connsiteX9" fmla="*/ 2066224 w 2441069"/>
                  <a:gd name="connsiteY9" fmla="*/ 2583597 h 3259269"/>
                  <a:gd name="connsiteX10" fmla="*/ 2326574 w 2441069"/>
                  <a:gd name="connsiteY10" fmla="*/ 1929547 h 3259269"/>
                  <a:gd name="connsiteX11" fmla="*/ 1972562 w 2441069"/>
                  <a:gd name="connsiteY11" fmla="*/ 1410435 h 3259269"/>
                  <a:gd name="connsiteX12" fmla="*/ 1208973 w 2441069"/>
                  <a:gd name="connsiteY12" fmla="*/ 1032609 h 3259269"/>
                  <a:gd name="connsiteX13" fmla="*/ 204086 w 2441069"/>
                  <a:gd name="connsiteY13" fmla="*/ 610335 h 3259269"/>
                  <a:gd name="connsiteX14" fmla="*/ 204086 w 2441069"/>
                  <a:gd name="connsiteY14" fmla="*/ 334109 h 3259269"/>
                  <a:gd name="connsiteX15" fmla="*/ 504124 w 2441069"/>
                  <a:gd name="connsiteY15" fmla="*/ 734 h 3259269"/>
                  <a:gd name="connsiteX0" fmla="*/ 481924 w 2418869"/>
                  <a:gd name="connsiteY0" fmla="*/ 734 h 3259269"/>
                  <a:gd name="connsiteX1" fmla="*/ 129499 w 2418869"/>
                  <a:gd name="connsiteY1" fmla="*/ 257909 h 3259269"/>
                  <a:gd name="connsiteX2" fmla="*/ 72349 w 2418869"/>
                  <a:gd name="connsiteY2" fmla="*/ 691297 h 3259269"/>
                  <a:gd name="connsiteX3" fmla="*/ 1101049 w 2418869"/>
                  <a:gd name="connsiteY3" fmla="*/ 1138972 h 3259269"/>
                  <a:gd name="connsiteX4" fmla="*/ 1780499 w 2418869"/>
                  <a:gd name="connsiteY4" fmla="*/ 1465997 h 3259269"/>
                  <a:gd name="connsiteX5" fmla="*/ 2132924 w 2418869"/>
                  <a:gd name="connsiteY5" fmla="*/ 1932722 h 3259269"/>
                  <a:gd name="connsiteX6" fmla="*/ 1821774 w 2418869"/>
                  <a:gd name="connsiteY6" fmla="*/ 2586772 h 3259269"/>
                  <a:gd name="connsiteX7" fmla="*/ 1986874 w 2418869"/>
                  <a:gd name="connsiteY7" fmla="*/ 3224947 h 3259269"/>
                  <a:gd name="connsiteX8" fmla="*/ 2418674 w 2418869"/>
                  <a:gd name="connsiteY8" fmla="*/ 3047147 h 3259269"/>
                  <a:gd name="connsiteX9" fmla="*/ 2044024 w 2418869"/>
                  <a:gd name="connsiteY9" fmla="*/ 2583597 h 3259269"/>
                  <a:gd name="connsiteX10" fmla="*/ 2304374 w 2418869"/>
                  <a:gd name="connsiteY10" fmla="*/ 1929547 h 3259269"/>
                  <a:gd name="connsiteX11" fmla="*/ 1950362 w 2418869"/>
                  <a:gd name="connsiteY11" fmla="*/ 1410435 h 3259269"/>
                  <a:gd name="connsiteX12" fmla="*/ 1186773 w 2418869"/>
                  <a:gd name="connsiteY12" fmla="*/ 1032609 h 3259269"/>
                  <a:gd name="connsiteX13" fmla="*/ 181886 w 2418869"/>
                  <a:gd name="connsiteY13" fmla="*/ 610335 h 3259269"/>
                  <a:gd name="connsiteX14" fmla="*/ 181886 w 2418869"/>
                  <a:gd name="connsiteY14" fmla="*/ 334109 h 3259269"/>
                  <a:gd name="connsiteX15" fmla="*/ 481924 w 2418869"/>
                  <a:gd name="connsiteY15" fmla="*/ 734 h 3259269"/>
                  <a:gd name="connsiteX0" fmla="*/ 485087 w 2422032"/>
                  <a:gd name="connsiteY0" fmla="*/ 714 h 3259249"/>
                  <a:gd name="connsiteX1" fmla="*/ 132662 w 2422032"/>
                  <a:gd name="connsiteY1" fmla="*/ 257889 h 3259249"/>
                  <a:gd name="connsiteX2" fmla="*/ 75512 w 2422032"/>
                  <a:gd name="connsiteY2" fmla="*/ 691277 h 3259249"/>
                  <a:gd name="connsiteX3" fmla="*/ 1104212 w 2422032"/>
                  <a:gd name="connsiteY3" fmla="*/ 1138952 h 3259249"/>
                  <a:gd name="connsiteX4" fmla="*/ 1783662 w 2422032"/>
                  <a:gd name="connsiteY4" fmla="*/ 1465977 h 3259249"/>
                  <a:gd name="connsiteX5" fmla="*/ 2136087 w 2422032"/>
                  <a:gd name="connsiteY5" fmla="*/ 1932702 h 3259249"/>
                  <a:gd name="connsiteX6" fmla="*/ 1824937 w 2422032"/>
                  <a:gd name="connsiteY6" fmla="*/ 2586752 h 3259249"/>
                  <a:gd name="connsiteX7" fmla="*/ 1990037 w 2422032"/>
                  <a:gd name="connsiteY7" fmla="*/ 3224927 h 3259249"/>
                  <a:gd name="connsiteX8" fmla="*/ 2421837 w 2422032"/>
                  <a:gd name="connsiteY8" fmla="*/ 3047127 h 3259249"/>
                  <a:gd name="connsiteX9" fmla="*/ 2047187 w 2422032"/>
                  <a:gd name="connsiteY9" fmla="*/ 2583577 h 3259249"/>
                  <a:gd name="connsiteX10" fmla="*/ 2307537 w 2422032"/>
                  <a:gd name="connsiteY10" fmla="*/ 1929527 h 3259249"/>
                  <a:gd name="connsiteX11" fmla="*/ 1953525 w 2422032"/>
                  <a:gd name="connsiteY11" fmla="*/ 1410415 h 3259249"/>
                  <a:gd name="connsiteX12" fmla="*/ 1189936 w 2422032"/>
                  <a:gd name="connsiteY12" fmla="*/ 1032589 h 3259249"/>
                  <a:gd name="connsiteX13" fmla="*/ 185049 w 2422032"/>
                  <a:gd name="connsiteY13" fmla="*/ 610315 h 3259249"/>
                  <a:gd name="connsiteX14" fmla="*/ 185049 w 2422032"/>
                  <a:gd name="connsiteY14" fmla="*/ 334089 h 3259249"/>
                  <a:gd name="connsiteX15" fmla="*/ 485087 w 2422032"/>
                  <a:gd name="connsiteY15" fmla="*/ 714 h 3259249"/>
                  <a:gd name="connsiteX0" fmla="*/ 491900 w 2428845"/>
                  <a:gd name="connsiteY0" fmla="*/ 199 h 3258734"/>
                  <a:gd name="connsiteX1" fmla="*/ 120425 w 2428845"/>
                  <a:gd name="connsiteY1" fmla="*/ 290712 h 3258734"/>
                  <a:gd name="connsiteX2" fmla="*/ 82325 w 2428845"/>
                  <a:gd name="connsiteY2" fmla="*/ 690762 h 3258734"/>
                  <a:gd name="connsiteX3" fmla="*/ 1111025 w 2428845"/>
                  <a:gd name="connsiteY3" fmla="*/ 1138437 h 3258734"/>
                  <a:gd name="connsiteX4" fmla="*/ 1790475 w 2428845"/>
                  <a:gd name="connsiteY4" fmla="*/ 1465462 h 3258734"/>
                  <a:gd name="connsiteX5" fmla="*/ 2142900 w 2428845"/>
                  <a:gd name="connsiteY5" fmla="*/ 1932187 h 3258734"/>
                  <a:gd name="connsiteX6" fmla="*/ 1831750 w 2428845"/>
                  <a:gd name="connsiteY6" fmla="*/ 2586237 h 3258734"/>
                  <a:gd name="connsiteX7" fmla="*/ 1996850 w 2428845"/>
                  <a:gd name="connsiteY7" fmla="*/ 3224412 h 3258734"/>
                  <a:gd name="connsiteX8" fmla="*/ 2428650 w 2428845"/>
                  <a:gd name="connsiteY8" fmla="*/ 3046612 h 3258734"/>
                  <a:gd name="connsiteX9" fmla="*/ 2054000 w 2428845"/>
                  <a:gd name="connsiteY9" fmla="*/ 2583062 h 3258734"/>
                  <a:gd name="connsiteX10" fmla="*/ 2314350 w 2428845"/>
                  <a:gd name="connsiteY10" fmla="*/ 1929012 h 3258734"/>
                  <a:gd name="connsiteX11" fmla="*/ 1960338 w 2428845"/>
                  <a:gd name="connsiteY11" fmla="*/ 1409900 h 3258734"/>
                  <a:gd name="connsiteX12" fmla="*/ 1196749 w 2428845"/>
                  <a:gd name="connsiteY12" fmla="*/ 1032074 h 3258734"/>
                  <a:gd name="connsiteX13" fmla="*/ 191862 w 2428845"/>
                  <a:gd name="connsiteY13" fmla="*/ 609800 h 3258734"/>
                  <a:gd name="connsiteX14" fmla="*/ 191862 w 2428845"/>
                  <a:gd name="connsiteY14" fmla="*/ 333574 h 3258734"/>
                  <a:gd name="connsiteX15" fmla="*/ 491900 w 2428845"/>
                  <a:gd name="connsiteY15" fmla="*/ 199 h 3258734"/>
                  <a:gd name="connsiteX0" fmla="*/ 495611 w 2432556"/>
                  <a:gd name="connsiteY0" fmla="*/ 208 h 3258743"/>
                  <a:gd name="connsiteX1" fmla="*/ 124136 w 2432556"/>
                  <a:gd name="connsiteY1" fmla="*/ 290721 h 3258743"/>
                  <a:gd name="connsiteX2" fmla="*/ 86036 w 2432556"/>
                  <a:gd name="connsiteY2" fmla="*/ 690771 h 3258743"/>
                  <a:gd name="connsiteX3" fmla="*/ 1114736 w 2432556"/>
                  <a:gd name="connsiteY3" fmla="*/ 1138446 h 3258743"/>
                  <a:gd name="connsiteX4" fmla="*/ 1794186 w 2432556"/>
                  <a:gd name="connsiteY4" fmla="*/ 1465471 h 3258743"/>
                  <a:gd name="connsiteX5" fmla="*/ 2146611 w 2432556"/>
                  <a:gd name="connsiteY5" fmla="*/ 1932196 h 3258743"/>
                  <a:gd name="connsiteX6" fmla="*/ 1835461 w 2432556"/>
                  <a:gd name="connsiteY6" fmla="*/ 2586246 h 3258743"/>
                  <a:gd name="connsiteX7" fmla="*/ 2000561 w 2432556"/>
                  <a:gd name="connsiteY7" fmla="*/ 3224421 h 3258743"/>
                  <a:gd name="connsiteX8" fmla="*/ 2432361 w 2432556"/>
                  <a:gd name="connsiteY8" fmla="*/ 3046621 h 3258743"/>
                  <a:gd name="connsiteX9" fmla="*/ 2057711 w 2432556"/>
                  <a:gd name="connsiteY9" fmla="*/ 2583071 h 3258743"/>
                  <a:gd name="connsiteX10" fmla="*/ 2318061 w 2432556"/>
                  <a:gd name="connsiteY10" fmla="*/ 1929021 h 3258743"/>
                  <a:gd name="connsiteX11" fmla="*/ 1964049 w 2432556"/>
                  <a:gd name="connsiteY11" fmla="*/ 1409909 h 3258743"/>
                  <a:gd name="connsiteX12" fmla="*/ 1200460 w 2432556"/>
                  <a:gd name="connsiteY12" fmla="*/ 1032083 h 3258743"/>
                  <a:gd name="connsiteX13" fmla="*/ 195573 w 2432556"/>
                  <a:gd name="connsiteY13" fmla="*/ 609809 h 3258743"/>
                  <a:gd name="connsiteX14" fmla="*/ 195573 w 2432556"/>
                  <a:gd name="connsiteY14" fmla="*/ 333583 h 3258743"/>
                  <a:gd name="connsiteX15" fmla="*/ 495611 w 2432556"/>
                  <a:gd name="connsiteY15" fmla="*/ 208 h 3258743"/>
                  <a:gd name="connsiteX0" fmla="*/ 493116 w 2430061"/>
                  <a:gd name="connsiteY0" fmla="*/ 185 h 3258720"/>
                  <a:gd name="connsiteX1" fmla="*/ 121641 w 2430061"/>
                  <a:gd name="connsiteY1" fmla="*/ 290698 h 3258720"/>
                  <a:gd name="connsiteX2" fmla="*/ 83541 w 2430061"/>
                  <a:gd name="connsiteY2" fmla="*/ 690748 h 3258720"/>
                  <a:gd name="connsiteX3" fmla="*/ 1112241 w 2430061"/>
                  <a:gd name="connsiteY3" fmla="*/ 1138423 h 3258720"/>
                  <a:gd name="connsiteX4" fmla="*/ 1791691 w 2430061"/>
                  <a:gd name="connsiteY4" fmla="*/ 1465448 h 3258720"/>
                  <a:gd name="connsiteX5" fmla="*/ 2144116 w 2430061"/>
                  <a:gd name="connsiteY5" fmla="*/ 1932173 h 3258720"/>
                  <a:gd name="connsiteX6" fmla="*/ 1832966 w 2430061"/>
                  <a:gd name="connsiteY6" fmla="*/ 2586223 h 3258720"/>
                  <a:gd name="connsiteX7" fmla="*/ 1998066 w 2430061"/>
                  <a:gd name="connsiteY7" fmla="*/ 3224398 h 3258720"/>
                  <a:gd name="connsiteX8" fmla="*/ 2429866 w 2430061"/>
                  <a:gd name="connsiteY8" fmla="*/ 3046598 h 3258720"/>
                  <a:gd name="connsiteX9" fmla="*/ 2055216 w 2430061"/>
                  <a:gd name="connsiteY9" fmla="*/ 2583048 h 3258720"/>
                  <a:gd name="connsiteX10" fmla="*/ 2315566 w 2430061"/>
                  <a:gd name="connsiteY10" fmla="*/ 1928998 h 3258720"/>
                  <a:gd name="connsiteX11" fmla="*/ 1961554 w 2430061"/>
                  <a:gd name="connsiteY11" fmla="*/ 1409886 h 3258720"/>
                  <a:gd name="connsiteX12" fmla="*/ 1197965 w 2430061"/>
                  <a:gd name="connsiteY12" fmla="*/ 1032060 h 3258720"/>
                  <a:gd name="connsiteX13" fmla="*/ 193078 w 2430061"/>
                  <a:gd name="connsiteY13" fmla="*/ 609786 h 3258720"/>
                  <a:gd name="connsiteX14" fmla="*/ 193078 w 2430061"/>
                  <a:gd name="connsiteY14" fmla="*/ 333560 h 3258720"/>
                  <a:gd name="connsiteX15" fmla="*/ 493116 w 2430061"/>
                  <a:gd name="connsiteY15" fmla="*/ 185 h 3258720"/>
                  <a:gd name="connsiteX0" fmla="*/ 493116 w 2430061"/>
                  <a:gd name="connsiteY0" fmla="*/ 185 h 3258720"/>
                  <a:gd name="connsiteX1" fmla="*/ 121641 w 2430061"/>
                  <a:gd name="connsiteY1" fmla="*/ 290698 h 3258720"/>
                  <a:gd name="connsiteX2" fmla="*/ 83541 w 2430061"/>
                  <a:gd name="connsiteY2" fmla="*/ 690748 h 3258720"/>
                  <a:gd name="connsiteX3" fmla="*/ 1112241 w 2430061"/>
                  <a:gd name="connsiteY3" fmla="*/ 1138423 h 3258720"/>
                  <a:gd name="connsiteX4" fmla="*/ 1791691 w 2430061"/>
                  <a:gd name="connsiteY4" fmla="*/ 1465448 h 3258720"/>
                  <a:gd name="connsiteX5" fmla="*/ 2144116 w 2430061"/>
                  <a:gd name="connsiteY5" fmla="*/ 1932173 h 3258720"/>
                  <a:gd name="connsiteX6" fmla="*/ 1832966 w 2430061"/>
                  <a:gd name="connsiteY6" fmla="*/ 2586223 h 3258720"/>
                  <a:gd name="connsiteX7" fmla="*/ 1998066 w 2430061"/>
                  <a:gd name="connsiteY7" fmla="*/ 3224398 h 3258720"/>
                  <a:gd name="connsiteX8" fmla="*/ 2429866 w 2430061"/>
                  <a:gd name="connsiteY8" fmla="*/ 3046598 h 3258720"/>
                  <a:gd name="connsiteX9" fmla="*/ 2055216 w 2430061"/>
                  <a:gd name="connsiteY9" fmla="*/ 2583048 h 3258720"/>
                  <a:gd name="connsiteX10" fmla="*/ 2315566 w 2430061"/>
                  <a:gd name="connsiteY10" fmla="*/ 1928998 h 3258720"/>
                  <a:gd name="connsiteX11" fmla="*/ 1961554 w 2430061"/>
                  <a:gd name="connsiteY11" fmla="*/ 1409886 h 3258720"/>
                  <a:gd name="connsiteX12" fmla="*/ 1197965 w 2430061"/>
                  <a:gd name="connsiteY12" fmla="*/ 1032060 h 3258720"/>
                  <a:gd name="connsiteX13" fmla="*/ 193078 w 2430061"/>
                  <a:gd name="connsiteY13" fmla="*/ 609786 h 3258720"/>
                  <a:gd name="connsiteX14" fmla="*/ 193078 w 2430061"/>
                  <a:gd name="connsiteY14" fmla="*/ 333560 h 3258720"/>
                  <a:gd name="connsiteX15" fmla="*/ 493116 w 2430061"/>
                  <a:gd name="connsiteY15" fmla="*/ 185 h 3258720"/>
                  <a:gd name="connsiteX0" fmla="*/ 493116 w 2430061"/>
                  <a:gd name="connsiteY0" fmla="*/ 185 h 3258720"/>
                  <a:gd name="connsiteX1" fmla="*/ 121641 w 2430061"/>
                  <a:gd name="connsiteY1" fmla="*/ 290698 h 3258720"/>
                  <a:gd name="connsiteX2" fmla="*/ 83541 w 2430061"/>
                  <a:gd name="connsiteY2" fmla="*/ 690748 h 3258720"/>
                  <a:gd name="connsiteX3" fmla="*/ 1112241 w 2430061"/>
                  <a:gd name="connsiteY3" fmla="*/ 1138423 h 3258720"/>
                  <a:gd name="connsiteX4" fmla="*/ 1791691 w 2430061"/>
                  <a:gd name="connsiteY4" fmla="*/ 1465448 h 3258720"/>
                  <a:gd name="connsiteX5" fmla="*/ 2144116 w 2430061"/>
                  <a:gd name="connsiteY5" fmla="*/ 1932173 h 3258720"/>
                  <a:gd name="connsiteX6" fmla="*/ 1832966 w 2430061"/>
                  <a:gd name="connsiteY6" fmla="*/ 2586223 h 3258720"/>
                  <a:gd name="connsiteX7" fmla="*/ 1998066 w 2430061"/>
                  <a:gd name="connsiteY7" fmla="*/ 3224398 h 3258720"/>
                  <a:gd name="connsiteX8" fmla="*/ 2429866 w 2430061"/>
                  <a:gd name="connsiteY8" fmla="*/ 3046598 h 3258720"/>
                  <a:gd name="connsiteX9" fmla="*/ 2055216 w 2430061"/>
                  <a:gd name="connsiteY9" fmla="*/ 2583048 h 3258720"/>
                  <a:gd name="connsiteX10" fmla="*/ 2315566 w 2430061"/>
                  <a:gd name="connsiteY10" fmla="*/ 1928998 h 3258720"/>
                  <a:gd name="connsiteX11" fmla="*/ 1961554 w 2430061"/>
                  <a:gd name="connsiteY11" fmla="*/ 1409886 h 3258720"/>
                  <a:gd name="connsiteX12" fmla="*/ 1197965 w 2430061"/>
                  <a:gd name="connsiteY12" fmla="*/ 1032060 h 3258720"/>
                  <a:gd name="connsiteX13" fmla="*/ 193078 w 2430061"/>
                  <a:gd name="connsiteY13" fmla="*/ 609786 h 3258720"/>
                  <a:gd name="connsiteX14" fmla="*/ 193078 w 2430061"/>
                  <a:gd name="connsiteY14" fmla="*/ 333560 h 3258720"/>
                  <a:gd name="connsiteX15" fmla="*/ 493116 w 2430061"/>
                  <a:gd name="connsiteY15" fmla="*/ 185 h 3258720"/>
                  <a:gd name="connsiteX0" fmla="*/ 493116 w 2430061"/>
                  <a:gd name="connsiteY0" fmla="*/ 185 h 3258720"/>
                  <a:gd name="connsiteX1" fmla="*/ 121641 w 2430061"/>
                  <a:gd name="connsiteY1" fmla="*/ 290698 h 3258720"/>
                  <a:gd name="connsiteX2" fmla="*/ 83541 w 2430061"/>
                  <a:gd name="connsiteY2" fmla="*/ 690748 h 3258720"/>
                  <a:gd name="connsiteX3" fmla="*/ 1112241 w 2430061"/>
                  <a:gd name="connsiteY3" fmla="*/ 1138423 h 3258720"/>
                  <a:gd name="connsiteX4" fmla="*/ 1791691 w 2430061"/>
                  <a:gd name="connsiteY4" fmla="*/ 1465448 h 3258720"/>
                  <a:gd name="connsiteX5" fmla="*/ 2144116 w 2430061"/>
                  <a:gd name="connsiteY5" fmla="*/ 1932173 h 3258720"/>
                  <a:gd name="connsiteX6" fmla="*/ 1832966 w 2430061"/>
                  <a:gd name="connsiteY6" fmla="*/ 2586223 h 3258720"/>
                  <a:gd name="connsiteX7" fmla="*/ 1998066 w 2430061"/>
                  <a:gd name="connsiteY7" fmla="*/ 3224398 h 3258720"/>
                  <a:gd name="connsiteX8" fmla="*/ 2429866 w 2430061"/>
                  <a:gd name="connsiteY8" fmla="*/ 3046598 h 3258720"/>
                  <a:gd name="connsiteX9" fmla="*/ 2055216 w 2430061"/>
                  <a:gd name="connsiteY9" fmla="*/ 2583048 h 3258720"/>
                  <a:gd name="connsiteX10" fmla="*/ 2315566 w 2430061"/>
                  <a:gd name="connsiteY10" fmla="*/ 1928998 h 3258720"/>
                  <a:gd name="connsiteX11" fmla="*/ 1975841 w 2430061"/>
                  <a:gd name="connsiteY11" fmla="*/ 1409886 h 3258720"/>
                  <a:gd name="connsiteX12" fmla="*/ 1197965 w 2430061"/>
                  <a:gd name="connsiteY12" fmla="*/ 1032060 h 3258720"/>
                  <a:gd name="connsiteX13" fmla="*/ 193078 w 2430061"/>
                  <a:gd name="connsiteY13" fmla="*/ 609786 h 3258720"/>
                  <a:gd name="connsiteX14" fmla="*/ 193078 w 2430061"/>
                  <a:gd name="connsiteY14" fmla="*/ 333560 h 3258720"/>
                  <a:gd name="connsiteX15" fmla="*/ 493116 w 2430061"/>
                  <a:gd name="connsiteY15" fmla="*/ 185 h 3258720"/>
                  <a:gd name="connsiteX0" fmla="*/ 493116 w 2430061"/>
                  <a:gd name="connsiteY0" fmla="*/ 185 h 3258720"/>
                  <a:gd name="connsiteX1" fmla="*/ 121641 w 2430061"/>
                  <a:gd name="connsiteY1" fmla="*/ 290698 h 3258720"/>
                  <a:gd name="connsiteX2" fmla="*/ 83541 w 2430061"/>
                  <a:gd name="connsiteY2" fmla="*/ 690748 h 3258720"/>
                  <a:gd name="connsiteX3" fmla="*/ 1112241 w 2430061"/>
                  <a:gd name="connsiteY3" fmla="*/ 1138423 h 3258720"/>
                  <a:gd name="connsiteX4" fmla="*/ 1791691 w 2430061"/>
                  <a:gd name="connsiteY4" fmla="*/ 1465448 h 3258720"/>
                  <a:gd name="connsiteX5" fmla="*/ 2144116 w 2430061"/>
                  <a:gd name="connsiteY5" fmla="*/ 1932173 h 3258720"/>
                  <a:gd name="connsiteX6" fmla="*/ 1832966 w 2430061"/>
                  <a:gd name="connsiteY6" fmla="*/ 2586223 h 3258720"/>
                  <a:gd name="connsiteX7" fmla="*/ 1998066 w 2430061"/>
                  <a:gd name="connsiteY7" fmla="*/ 3224398 h 3258720"/>
                  <a:gd name="connsiteX8" fmla="*/ 2429866 w 2430061"/>
                  <a:gd name="connsiteY8" fmla="*/ 3046598 h 3258720"/>
                  <a:gd name="connsiteX9" fmla="*/ 2079028 w 2430061"/>
                  <a:gd name="connsiteY9" fmla="*/ 2592573 h 3258720"/>
                  <a:gd name="connsiteX10" fmla="*/ 2315566 w 2430061"/>
                  <a:gd name="connsiteY10" fmla="*/ 1928998 h 3258720"/>
                  <a:gd name="connsiteX11" fmla="*/ 1975841 w 2430061"/>
                  <a:gd name="connsiteY11" fmla="*/ 1409886 h 3258720"/>
                  <a:gd name="connsiteX12" fmla="*/ 1197965 w 2430061"/>
                  <a:gd name="connsiteY12" fmla="*/ 1032060 h 3258720"/>
                  <a:gd name="connsiteX13" fmla="*/ 193078 w 2430061"/>
                  <a:gd name="connsiteY13" fmla="*/ 609786 h 3258720"/>
                  <a:gd name="connsiteX14" fmla="*/ 193078 w 2430061"/>
                  <a:gd name="connsiteY14" fmla="*/ 333560 h 3258720"/>
                  <a:gd name="connsiteX15" fmla="*/ 493116 w 2430061"/>
                  <a:gd name="connsiteY15" fmla="*/ 185 h 3258720"/>
                  <a:gd name="connsiteX0" fmla="*/ 177577 w 2414560"/>
                  <a:gd name="connsiteY0" fmla="*/ 70044 h 2995204"/>
                  <a:gd name="connsiteX1" fmla="*/ 106140 w 2414560"/>
                  <a:gd name="connsiteY1" fmla="*/ 27182 h 2995204"/>
                  <a:gd name="connsiteX2" fmla="*/ 68040 w 2414560"/>
                  <a:gd name="connsiteY2" fmla="*/ 427232 h 2995204"/>
                  <a:gd name="connsiteX3" fmla="*/ 1096740 w 2414560"/>
                  <a:gd name="connsiteY3" fmla="*/ 874907 h 2995204"/>
                  <a:gd name="connsiteX4" fmla="*/ 1776190 w 2414560"/>
                  <a:gd name="connsiteY4" fmla="*/ 1201932 h 2995204"/>
                  <a:gd name="connsiteX5" fmla="*/ 2128615 w 2414560"/>
                  <a:gd name="connsiteY5" fmla="*/ 1668657 h 2995204"/>
                  <a:gd name="connsiteX6" fmla="*/ 1817465 w 2414560"/>
                  <a:gd name="connsiteY6" fmla="*/ 2322707 h 2995204"/>
                  <a:gd name="connsiteX7" fmla="*/ 1982565 w 2414560"/>
                  <a:gd name="connsiteY7" fmla="*/ 2960882 h 2995204"/>
                  <a:gd name="connsiteX8" fmla="*/ 2414365 w 2414560"/>
                  <a:gd name="connsiteY8" fmla="*/ 2783082 h 2995204"/>
                  <a:gd name="connsiteX9" fmla="*/ 2063527 w 2414560"/>
                  <a:gd name="connsiteY9" fmla="*/ 2329057 h 2995204"/>
                  <a:gd name="connsiteX10" fmla="*/ 2300065 w 2414560"/>
                  <a:gd name="connsiteY10" fmla="*/ 1665482 h 2995204"/>
                  <a:gd name="connsiteX11" fmla="*/ 1960340 w 2414560"/>
                  <a:gd name="connsiteY11" fmla="*/ 1146370 h 2995204"/>
                  <a:gd name="connsiteX12" fmla="*/ 1182464 w 2414560"/>
                  <a:gd name="connsiteY12" fmla="*/ 768544 h 2995204"/>
                  <a:gd name="connsiteX13" fmla="*/ 177577 w 2414560"/>
                  <a:gd name="connsiteY13" fmla="*/ 346270 h 2995204"/>
                  <a:gd name="connsiteX14" fmla="*/ 177577 w 2414560"/>
                  <a:gd name="connsiteY14" fmla="*/ 70044 h 2995204"/>
                  <a:gd name="connsiteX0" fmla="*/ 177577 w 2414560"/>
                  <a:gd name="connsiteY0" fmla="*/ 319711 h 2968645"/>
                  <a:gd name="connsiteX1" fmla="*/ 106140 w 2414560"/>
                  <a:gd name="connsiteY1" fmla="*/ 623 h 2968645"/>
                  <a:gd name="connsiteX2" fmla="*/ 68040 w 2414560"/>
                  <a:gd name="connsiteY2" fmla="*/ 400673 h 2968645"/>
                  <a:gd name="connsiteX3" fmla="*/ 1096740 w 2414560"/>
                  <a:gd name="connsiteY3" fmla="*/ 848348 h 2968645"/>
                  <a:gd name="connsiteX4" fmla="*/ 1776190 w 2414560"/>
                  <a:gd name="connsiteY4" fmla="*/ 1175373 h 2968645"/>
                  <a:gd name="connsiteX5" fmla="*/ 2128615 w 2414560"/>
                  <a:gd name="connsiteY5" fmla="*/ 1642098 h 2968645"/>
                  <a:gd name="connsiteX6" fmla="*/ 1817465 w 2414560"/>
                  <a:gd name="connsiteY6" fmla="*/ 2296148 h 2968645"/>
                  <a:gd name="connsiteX7" fmla="*/ 1982565 w 2414560"/>
                  <a:gd name="connsiteY7" fmla="*/ 2934323 h 2968645"/>
                  <a:gd name="connsiteX8" fmla="*/ 2414365 w 2414560"/>
                  <a:gd name="connsiteY8" fmla="*/ 2756523 h 2968645"/>
                  <a:gd name="connsiteX9" fmla="*/ 2063527 w 2414560"/>
                  <a:gd name="connsiteY9" fmla="*/ 2302498 h 2968645"/>
                  <a:gd name="connsiteX10" fmla="*/ 2300065 w 2414560"/>
                  <a:gd name="connsiteY10" fmla="*/ 1638923 h 2968645"/>
                  <a:gd name="connsiteX11" fmla="*/ 1960340 w 2414560"/>
                  <a:gd name="connsiteY11" fmla="*/ 1119811 h 2968645"/>
                  <a:gd name="connsiteX12" fmla="*/ 1182464 w 2414560"/>
                  <a:gd name="connsiteY12" fmla="*/ 741985 h 2968645"/>
                  <a:gd name="connsiteX13" fmla="*/ 177577 w 2414560"/>
                  <a:gd name="connsiteY13" fmla="*/ 319711 h 2968645"/>
                  <a:gd name="connsiteX0" fmla="*/ 191196 w 2428179"/>
                  <a:gd name="connsiteY0" fmla="*/ 24259 h 2673193"/>
                  <a:gd name="connsiteX1" fmla="*/ 81659 w 2428179"/>
                  <a:gd name="connsiteY1" fmla="*/ 105221 h 2673193"/>
                  <a:gd name="connsiteX2" fmla="*/ 1110359 w 2428179"/>
                  <a:gd name="connsiteY2" fmla="*/ 552896 h 2673193"/>
                  <a:gd name="connsiteX3" fmla="*/ 1789809 w 2428179"/>
                  <a:gd name="connsiteY3" fmla="*/ 879921 h 2673193"/>
                  <a:gd name="connsiteX4" fmla="*/ 2142234 w 2428179"/>
                  <a:gd name="connsiteY4" fmla="*/ 1346646 h 2673193"/>
                  <a:gd name="connsiteX5" fmla="*/ 1831084 w 2428179"/>
                  <a:gd name="connsiteY5" fmla="*/ 2000696 h 2673193"/>
                  <a:gd name="connsiteX6" fmla="*/ 1996184 w 2428179"/>
                  <a:gd name="connsiteY6" fmla="*/ 2638871 h 2673193"/>
                  <a:gd name="connsiteX7" fmla="*/ 2427984 w 2428179"/>
                  <a:gd name="connsiteY7" fmla="*/ 2461071 h 2673193"/>
                  <a:gd name="connsiteX8" fmla="*/ 2077146 w 2428179"/>
                  <a:gd name="connsiteY8" fmla="*/ 2007046 h 2673193"/>
                  <a:gd name="connsiteX9" fmla="*/ 2313684 w 2428179"/>
                  <a:gd name="connsiteY9" fmla="*/ 1343471 h 2673193"/>
                  <a:gd name="connsiteX10" fmla="*/ 1973959 w 2428179"/>
                  <a:gd name="connsiteY10" fmla="*/ 824359 h 2673193"/>
                  <a:gd name="connsiteX11" fmla="*/ 1196083 w 2428179"/>
                  <a:gd name="connsiteY11" fmla="*/ 446533 h 2673193"/>
                  <a:gd name="connsiteX12" fmla="*/ 191196 w 2428179"/>
                  <a:gd name="connsiteY12" fmla="*/ 24259 h 2673193"/>
                  <a:gd name="connsiteX0" fmla="*/ 1114626 w 2346722"/>
                  <a:gd name="connsiteY0" fmla="*/ 342246 h 2568906"/>
                  <a:gd name="connsiteX1" fmla="*/ 202 w 2346722"/>
                  <a:gd name="connsiteY1" fmla="*/ 934 h 2568906"/>
                  <a:gd name="connsiteX2" fmla="*/ 1028902 w 2346722"/>
                  <a:gd name="connsiteY2" fmla="*/ 448609 h 2568906"/>
                  <a:gd name="connsiteX3" fmla="*/ 1708352 w 2346722"/>
                  <a:gd name="connsiteY3" fmla="*/ 775634 h 2568906"/>
                  <a:gd name="connsiteX4" fmla="*/ 2060777 w 2346722"/>
                  <a:gd name="connsiteY4" fmla="*/ 1242359 h 2568906"/>
                  <a:gd name="connsiteX5" fmla="*/ 1749627 w 2346722"/>
                  <a:gd name="connsiteY5" fmla="*/ 1896409 h 2568906"/>
                  <a:gd name="connsiteX6" fmla="*/ 1914727 w 2346722"/>
                  <a:gd name="connsiteY6" fmla="*/ 2534584 h 2568906"/>
                  <a:gd name="connsiteX7" fmla="*/ 2346527 w 2346722"/>
                  <a:gd name="connsiteY7" fmla="*/ 2356784 h 2568906"/>
                  <a:gd name="connsiteX8" fmla="*/ 1995689 w 2346722"/>
                  <a:gd name="connsiteY8" fmla="*/ 1902759 h 2568906"/>
                  <a:gd name="connsiteX9" fmla="*/ 2232227 w 2346722"/>
                  <a:gd name="connsiteY9" fmla="*/ 1239184 h 2568906"/>
                  <a:gd name="connsiteX10" fmla="*/ 1892502 w 2346722"/>
                  <a:gd name="connsiteY10" fmla="*/ 720072 h 2568906"/>
                  <a:gd name="connsiteX11" fmla="*/ 1114626 w 2346722"/>
                  <a:gd name="connsiteY11" fmla="*/ 342246 h 2568906"/>
                  <a:gd name="connsiteX0" fmla="*/ 140040 w 1372136"/>
                  <a:gd name="connsiteY0" fmla="*/ 13250 h 2239910"/>
                  <a:gd name="connsiteX1" fmla="*/ 54316 w 1372136"/>
                  <a:gd name="connsiteY1" fmla="*/ 119613 h 2239910"/>
                  <a:gd name="connsiteX2" fmla="*/ 733766 w 1372136"/>
                  <a:gd name="connsiteY2" fmla="*/ 446638 h 2239910"/>
                  <a:gd name="connsiteX3" fmla="*/ 1086191 w 1372136"/>
                  <a:gd name="connsiteY3" fmla="*/ 913363 h 2239910"/>
                  <a:gd name="connsiteX4" fmla="*/ 775041 w 1372136"/>
                  <a:gd name="connsiteY4" fmla="*/ 1567413 h 2239910"/>
                  <a:gd name="connsiteX5" fmla="*/ 940141 w 1372136"/>
                  <a:gd name="connsiteY5" fmla="*/ 2205588 h 2239910"/>
                  <a:gd name="connsiteX6" fmla="*/ 1371941 w 1372136"/>
                  <a:gd name="connsiteY6" fmla="*/ 2027788 h 2239910"/>
                  <a:gd name="connsiteX7" fmla="*/ 1021103 w 1372136"/>
                  <a:gd name="connsiteY7" fmla="*/ 1573763 h 2239910"/>
                  <a:gd name="connsiteX8" fmla="*/ 1257641 w 1372136"/>
                  <a:gd name="connsiteY8" fmla="*/ 910188 h 2239910"/>
                  <a:gd name="connsiteX9" fmla="*/ 917916 w 1372136"/>
                  <a:gd name="connsiteY9" fmla="*/ 391076 h 2239910"/>
                  <a:gd name="connsiteX10" fmla="*/ 140040 w 1372136"/>
                  <a:gd name="connsiteY10" fmla="*/ 13250 h 2239910"/>
                  <a:gd name="connsiteX0" fmla="*/ 864755 w 1318975"/>
                  <a:gd name="connsiteY0" fmla="*/ 271874 h 2120708"/>
                  <a:gd name="connsiteX1" fmla="*/ 1155 w 1318975"/>
                  <a:gd name="connsiteY1" fmla="*/ 411 h 2120708"/>
                  <a:gd name="connsiteX2" fmla="*/ 680605 w 1318975"/>
                  <a:gd name="connsiteY2" fmla="*/ 327436 h 2120708"/>
                  <a:gd name="connsiteX3" fmla="*/ 1033030 w 1318975"/>
                  <a:gd name="connsiteY3" fmla="*/ 794161 h 2120708"/>
                  <a:gd name="connsiteX4" fmla="*/ 721880 w 1318975"/>
                  <a:gd name="connsiteY4" fmla="*/ 1448211 h 2120708"/>
                  <a:gd name="connsiteX5" fmla="*/ 886980 w 1318975"/>
                  <a:gd name="connsiteY5" fmla="*/ 2086386 h 2120708"/>
                  <a:gd name="connsiteX6" fmla="*/ 1318780 w 1318975"/>
                  <a:gd name="connsiteY6" fmla="*/ 1908586 h 2120708"/>
                  <a:gd name="connsiteX7" fmla="*/ 967942 w 1318975"/>
                  <a:gd name="connsiteY7" fmla="*/ 1454561 h 2120708"/>
                  <a:gd name="connsiteX8" fmla="*/ 1204480 w 1318975"/>
                  <a:gd name="connsiteY8" fmla="*/ 790986 h 2120708"/>
                  <a:gd name="connsiteX9" fmla="*/ 864755 w 1318975"/>
                  <a:gd name="connsiteY9" fmla="*/ 271874 h 2120708"/>
                  <a:gd name="connsiteX0" fmla="*/ 188169 w 642389"/>
                  <a:gd name="connsiteY0" fmla="*/ 39424 h 1888258"/>
                  <a:gd name="connsiteX1" fmla="*/ 4019 w 642389"/>
                  <a:gd name="connsiteY1" fmla="*/ 94986 h 1888258"/>
                  <a:gd name="connsiteX2" fmla="*/ 356444 w 642389"/>
                  <a:gd name="connsiteY2" fmla="*/ 561711 h 1888258"/>
                  <a:gd name="connsiteX3" fmla="*/ 45294 w 642389"/>
                  <a:gd name="connsiteY3" fmla="*/ 1215761 h 1888258"/>
                  <a:gd name="connsiteX4" fmla="*/ 210394 w 642389"/>
                  <a:gd name="connsiteY4" fmla="*/ 1853936 h 1888258"/>
                  <a:gd name="connsiteX5" fmla="*/ 642194 w 642389"/>
                  <a:gd name="connsiteY5" fmla="*/ 1676136 h 1888258"/>
                  <a:gd name="connsiteX6" fmla="*/ 291356 w 642389"/>
                  <a:gd name="connsiteY6" fmla="*/ 1222111 h 1888258"/>
                  <a:gd name="connsiteX7" fmla="*/ 527894 w 642389"/>
                  <a:gd name="connsiteY7" fmla="*/ 558536 h 1888258"/>
                  <a:gd name="connsiteX8" fmla="*/ 188169 w 642389"/>
                  <a:gd name="connsiteY8" fmla="*/ 39424 h 1888258"/>
                  <a:gd name="connsiteX0" fmla="*/ 146000 w 600220"/>
                  <a:gd name="connsiteY0" fmla="*/ 0 h 1848834"/>
                  <a:gd name="connsiteX1" fmla="*/ 314275 w 600220"/>
                  <a:gd name="connsiteY1" fmla="*/ 522287 h 1848834"/>
                  <a:gd name="connsiteX2" fmla="*/ 3125 w 600220"/>
                  <a:gd name="connsiteY2" fmla="*/ 1176337 h 1848834"/>
                  <a:gd name="connsiteX3" fmla="*/ 168225 w 600220"/>
                  <a:gd name="connsiteY3" fmla="*/ 1814512 h 1848834"/>
                  <a:gd name="connsiteX4" fmla="*/ 600025 w 600220"/>
                  <a:gd name="connsiteY4" fmla="*/ 1636712 h 1848834"/>
                  <a:gd name="connsiteX5" fmla="*/ 249187 w 600220"/>
                  <a:gd name="connsiteY5" fmla="*/ 1182687 h 1848834"/>
                  <a:gd name="connsiteX6" fmla="*/ 485725 w 600220"/>
                  <a:gd name="connsiteY6" fmla="*/ 519112 h 1848834"/>
                  <a:gd name="connsiteX7" fmla="*/ 146000 w 600220"/>
                  <a:gd name="connsiteY7" fmla="*/ 0 h 1848834"/>
                  <a:gd name="connsiteX0" fmla="*/ 146000 w 600220"/>
                  <a:gd name="connsiteY0" fmla="*/ 17536 h 1866370"/>
                  <a:gd name="connsiteX1" fmla="*/ 314275 w 600220"/>
                  <a:gd name="connsiteY1" fmla="*/ 539823 h 1866370"/>
                  <a:gd name="connsiteX2" fmla="*/ 3125 w 600220"/>
                  <a:gd name="connsiteY2" fmla="*/ 1193873 h 1866370"/>
                  <a:gd name="connsiteX3" fmla="*/ 168225 w 600220"/>
                  <a:gd name="connsiteY3" fmla="*/ 1832048 h 1866370"/>
                  <a:gd name="connsiteX4" fmla="*/ 600025 w 600220"/>
                  <a:gd name="connsiteY4" fmla="*/ 1654248 h 1866370"/>
                  <a:gd name="connsiteX5" fmla="*/ 249187 w 600220"/>
                  <a:gd name="connsiteY5" fmla="*/ 1200223 h 1866370"/>
                  <a:gd name="connsiteX6" fmla="*/ 146000 w 600220"/>
                  <a:gd name="connsiteY6" fmla="*/ 17536 h 1866370"/>
                  <a:gd name="connsiteX0" fmla="*/ 146000 w 600220"/>
                  <a:gd name="connsiteY0" fmla="*/ 1 h 1848835"/>
                  <a:gd name="connsiteX1" fmla="*/ 3125 w 600220"/>
                  <a:gd name="connsiteY1" fmla="*/ 1176338 h 1848835"/>
                  <a:gd name="connsiteX2" fmla="*/ 168225 w 600220"/>
                  <a:gd name="connsiteY2" fmla="*/ 1814513 h 1848835"/>
                  <a:gd name="connsiteX3" fmla="*/ 600025 w 600220"/>
                  <a:gd name="connsiteY3" fmla="*/ 1636713 h 1848835"/>
                  <a:gd name="connsiteX4" fmla="*/ 249187 w 600220"/>
                  <a:gd name="connsiteY4" fmla="*/ 1182688 h 1848835"/>
                  <a:gd name="connsiteX5" fmla="*/ 146000 w 600220"/>
                  <a:gd name="connsiteY5" fmla="*/ 1 h 1848835"/>
                  <a:gd name="connsiteX0" fmla="*/ 249187 w 600220"/>
                  <a:gd name="connsiteY0" fmla="*/ 72298 h 738445"/>
                  <a:gd name="connsiteX1" fmla="*/ 3125 w 600220"/>
                  <a:gd name="connsiteY1" fmla="*/ 65948 h 738445"/>
                  <a:gd name="connsiteX2" fmla="*/ 168225 w 600220"/>
                  <a:gd name="connsiteY2" fmla="*/ 704123 h 738445"/>
                  <a:gd name="connsiteX3" fmla="*/ 600025 w 600220"/>
                  <a:gd name="connsiteY3" fmla="*/ 526323 h 738445"/>
                  <a:gd name="connsiteX4" fmla="*/ 249187 w 600220"/>
                  <a:gd name="connsiteY4" fmla="*/ 72298 h 738445"/>
                  <a:gd name="connsiteX0" fmla="*/ 103176 w 454209"/>
                  <a:gd name="connsiteY0" fmla="*/ 0 h 666147"/>
                  <a:gd name="connsiteX1" fmla="*/ 22214 w 454209"/>
                  <a:gd name="connsiteY1" fmla="*/ 631825 h 666147"/>
                  <a:gd name="connsiteX2" fmla="*/ 454014 w 454209"/>
                  <a:gd name="connsiteY2" fmla="*/ 454025 h 666147"/>
                  <a:gd name="connsiteX3" fmla="*/ 103176 w 454209"/>
                  <a:gd name="connsiteY3" fmla="*/ 0 h 666147"/>
                  <a:gd name="connsiteX0" fmla="*/ 431800 w 431995"/>
                  <a:gd name="connsiteY0" fmla="*/ 0 h 212122"/>
                  <a:gd name="connsiteX1" fmla="*/ 0 w 431995"/>
                  <a:gd name="connsiteY1" fmla="*/ 177800 h 212122"/>
                  <a:gd name="connsiteX2" fmla="*/ 431800 w 431995"/>
                  <a:gd name="connsiteY2" fmla="*/ 0 h 212122"/>
                </a:gdLst>
                <a:ahLst/>
                <a:cxnLst>
                  <a:cxn ang="0">
                    <a:pos x="connsiteX0" y="connsiteY0"/>
                  </a:cxn>
                  <a:cxn ang="0">
                    <a:pos x="connsiteX1" y="connsiteY1"/>
                  </a:cxn>
                  <a:cxn ang="0">
                    <a:pos x="connsiteX2" y="connsiteY2"/>
                  </a:cxn>
                </a:cxnLst>
                <a:rect l="l" t="t" r="r" b="b"/>
                <a:pathLst>
                  <a:path w="431995" h="212122">
                    <a:moveTo>
                      <a:pt x="431800" y="0"/>
                    </a:moveTo>
                    <a:lnTo>
                      <a:pt x="0" y="177800"/>
                    </a:lnTo>
                    <a:cubicBezTo>
                      <a:pt x="100542" y="262467"/>
                      <a:pt x="441325" y="185737"/>
                      <a:pt x="431800" y="0"/>
                    </a:cubicBezTo>
                    <a:close/>
                  </a:path>
                </a:pathLst>
              </a:custGeom>
              <a:gradFill flip="none" rotWithShape="1">
                <a:gsLst>
                  <a:gs pos="0">
                    <a:schemeClr val="accent1"/>
                  </a:gs>
                  <a:gs pos="100000">
                    <a:schemeClr val="accent1">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ClrTx/>
                  <a:buSzTx/>
                  <a:buFontTx/>
                  <a:buNone/>
                  <a:defRPr/>
                </a:pPr>
                <a:endParaRPr lang="de-DE">
                  <a:solidFill>
                    <a:srgbClr val="FFFFFF"/>
                  </a:solidFill>
                  <a:latin typeface="+mj-lt"/>
                </a:endParaRPr>
              </a:p>
            </p:txBody>
          </p:sp>
        </p:grpSp>
        <p:pic>
          <p:nvPicPr>
            <p:cNvPr id="36" name="Picture 3">
              <a:extLst>
                <a:ext uri="{FF2B5EF4-FFF2-40B4-BE49-F238E27FC236}">
                  <a16:creationId xmlns:a16="http://schemas.microsoft.com/office/drawing/2014/main" id="{4AB8336C-DD62-4BC6-97C2-0D3BFCA70AE4}"/>
                </a:ext>
              </a:extLst>
            </p:cNvPr>
            <p:cNvPicPr>
              <a:picLocks noChangeAspect="1" noChangeArrowheads="1"/>
            </p:cNvPicPr>
            <p:nvPr>
              <p:custDataLst>
                <p:tags r:id="rId5"/>
              </p:custDataLst>
            </p:nvPr>
          </p:nvPicPr>
          <p:blipFill>
            <a:blip r:embed="rId51">
              <a:extLst>
                <a:ext uri="{28A0092B-C50C-407E-A947-70E740481C1C}">
                  <a14:useLocalDpi xmlns:a14="http://schemas.microsoft.com/office/drawing/2010/main"/>
                </a:ext>
              </a:extLst>
            </a:blip>
            <a:srcRect/>
            <a:stretch>
              <a:fillRect/>
            </a:stretch>
          </p:blipFill>
          <p:spPr bwMode="auto">
            <a:xfrm>
              <a:off x="2390713" y="2050003"/>
              <a:ext cx="2073275" cy="1158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PTShape_0" descr="C:\Users\nikita zacharias.EXPLAIN\Desktop\Coregraphic 3.png">
              <a:extLst>
                <a:ext uri="{FF2B5EF4-FFF2-40B4-BE49-F238E27FC236}">
                  <a16:creationId xmlns:a16="http://schemas.microsoft.com/office/drawing/2014/main" id="{BB77EE98-AB4B-4B99-A831-693526B70330}"/>
                </a:ext>
              </a:extLst>
            </p:cNvPr>
            <p:cNvPicPr>
              <a:picLocks noChangeAspect="1" noChangeArrowheads="1"/>
            </p:cNvPicPr>
            <p:nvPr>
              <p:custDataLst>
                <p:tags r:id="rId6"/>
              </p:custDataLst>
            </p:nvPr>
          </p:nvPicPr>
          <p:blipFill>
            <a:blip r:embed="rId52" cstate="print">
              <a:extLst>
                <a:ext uri="{28A0092B-C50C-407E-A947-70E740481C1C}">
                  <a14:useLocalDpi xmlns:a14="http://schemas.microsoft.com/office/drawing/2010/main"/>
                </a:ext>
              </a:extLst>
            </a:blip>
            <a:srcRect/>
            <a:stretch>
              <a:fillRect/>
            </a:stretch>
          </p:blipFill>
          <p:spPr bwMode="auto">
            <a:xfrm>
              <a:off x="5772150" y="3776663"/>
              <a:ext cx="1654175" cy="82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PTShape_7" descr="C:\Users\nikita zacharias.EXPLAIN\Desktop\Coregraphic 3.png">
              <a:extLst>
                <a:ext uri="{FF2B5EF4-FFF2-40B4-BE49-F238E27FC236}">
                  <a16:creationId xmlns:a16="http://schemas.microsoft.com/office/drawing/2014/main" id="{701B96F1-79C6-4EFA-AEF5-2F9ACC3C4D75}"/>
                </a:ext>
              </a:extLst>
            </p:cNvPr>
            <p:cNvPicPr>
              <a:picLocks noChangeAspect="1" noChangeArrowheads="1"/>
            </p:cNvPicPr>
            <p:nvPr>
              <p:custDataLst>
                <p:tags r:id="rId7"/>
              </p:custDataLst>
            </p:nvPr>
          </p:nvPicPr>
          <p:blipFill>
            <a:blip r:embed="rId53" cstate="print">
              <a:extLst>
                <a:ext uri="{28A0092B-C50C-407E-A947-70E740481C1C}">
                  <a14:useLocalDpi xmlns:a14="http://schemas.microsoft.com/office/drawing/2010/main"/>
                </a:ext>
              </a:extLst>
            </a:blip>
            <a:srcRect/>
            <a:stretch>
              <a:fillRect/>
            </a:stretch>
          </p:blipFill>
          <p:spPr bwMode="auto">
            <a:xfrm>
              <a:off x="1042988" y="4613275"/>
              <a:ext cx="655637" cy="43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PTShape_8" descr="C:\Users\nikita zacharias.EXPLAIN\Desktop\Coregraphic 3.png">
              <a:extLst>
                <a:ext uri="{FF2B5EF4-FFF2-40B4-BE49-F238E27FC236}">
                  <a16:creationId xmlns:a16="http://schemas.microsoft.com/office/drawing/2014/main" id="{D08EC704-D6C7-4953-825A-F899BCF1E25C}"/>
                </a:ext>
              </a:extLst>
            </p:cNvPr>
            <p:cNvPicPr>
              <a:picLocks noChangeAspect="1" noChangeArrowheads="1"/>
            </p:cNvPicPr>
            <p:nvPr>
              <p:custDataLst>
                <p:tags r:id="rId8"/>
              </p:custDataLst>
            </p:nvPr>
          </p:nvPicPr>
          <p:blipFill>
            <a:blip r:embed="rId54" cstate="print">
              <a:extLst>
                <a:ext uri="{28A0092B-C50C-407E-A947-70E740481C1C}">
                  <a14:useLocalDpi xmlns:a14="http://schemas.microsoft.com/office/drawing/2010/main"/>
                </a:ext>
              </a:extLst>
            </a:blip>
            <a:srcRect/>
            <a:stretch>
              <a:fillRect/>
            </a:stretch>
          </p:blipFill>
          <p:spPr bwMode="auto">
            <a:xfrm>
              <a:off x="1920875" y="4883150"/>
              <a:ext cx="409575"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PTShape_15" descr="C:\Users\nikita zacharias.EXPLAIN\Desktop\Coregraphic 3.png">
              <a:extLst>
                <a:ext uri="{FF2B5EF4-FFF2-40B4-BE49-F238E27FC236}">
                  <a16:creationId xmlns:a16="http://schemas.microsoft.com/office/drawing/2014/main" id="{5CFE6ED2-28FE-4EF5-84E6-7225921CA2C4}"/>
                </a:ext>
              </a:extLst>
            </p:cNvPr>
            <p:cNvPicPr>
              <a:picLocks noChangeAspect="1" noChangeArrowheads="1"/>
            </p:cNvPicPr>
            <p:nvPr>
              <p:custDataLst>
                <p:tags r:id="rId9"/>
              </p:custDataLst>
            </p:nvPr>
          </p:nvPicPr>
          <p:blipFill>
            <a:blip r:embed="rId55" cstate="print">
              <a:extLst>
                <a:ext uri="{28A0092B-C50C-407E-A947-70E740481C1C}">
                  <a14:useLocalDpi xmlns:a14="http://schemas.microsoft.com/office/drawing/2010/main"/>
                </a:ext>
              </a:extLst>
            </a:blip>
            <a:srcRect/>
            <a:stretch>
              <a:fillRect/>
            </a:stretch>
          </p:blipFill>
          <p:spPr bwMode="auto">
            <a:xfrm>
              <a:off x="3094038" y="5084763"/>
              <a:ext cx="674687"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PTShape_19" descr="C:\Users\nikita zacharias.EXPLAIN\Desktop\Coregraphic 3.png">
              <a:extLst>
                <a:ext uri="{FF2B5EF4-FFF2-40B4-BE49-F238E27FC236}">
                  <a16:creationId xmlns:a16="http://schemas.microsoft.com/office/drawing/2014/main" id="{DFDB925B-E182-45E7-B1BF-B0FF5EF8176C}"/>
                </a:ext>
              </a:extLst>
            </p:cNvPr>
            <p:cNvPicPr>
              <a:picLocks noChangeAspect="1" noChangeArrowheads="1"/>
            </p:cNvPicPr>
            <p:nvPr>
              <p:custDataLst>
                <p:tags r:id="rId10"/>
              </p:custDataLst>
            </p:nvPr>
          </p:nvPicPr>
          <p:blipFill>
            <a:blip r:embed="rId56" cstate="print">
              <a:extLst>
                <a:ext uri="{28A0092B-C50C-407E-A947-70E740481C1C}">
                  <a14:useLocalDpi xmlns:a14="http://schemas.microsoft.com/office/drawing/2010/main"/>
                </a:ext>
              </a:extLst>
            </a:blip>
            <a:srcRect/>
            <a:stretch>
              <a:fillRect/>
            </a:stretch>
          </p:blipFill>
          <p:spPr bwMode="auto">
            <a:xfrm>
              <a:off x="7183438" y="4313238"/>
              <a:ext cx="541337" cy="385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PTShape_20" descr="C:\Users\nikita zacharias.EXPLAIN\Desktop\Coregraphic 3.png">
              <a:extLst>
                <a:ext uri="{FF2B5EF4-FFF2-40B4-BE49-F238E27FC236}">
                  <a16:creationId xmlns:a16="http://schemas.microsoft.com/office/drawing/2014/main" id="{6EFA3965-A39C-47CA-B182-DF9B72991B13}"/>
                </a:ext>
              </a:extLst>
            </p:cNvPr>
            <p:cNvPicPr>
              <a:picLocks noChangeAspect="1" noChangeArrowheads="1"/>
            </p:cNvPicPr>
            <p:nvPr>
              <p:custDataLst>
                <p:tags r:id="rId11"/>
              </p:custDataLst>
            </p:nvPr>
          </p:nvPicPr>
          <p:blipFill>
            <a:blip r:embed="rId56" cstate="print">
              <a:extLst>
                <a:ext uri="{28A0092B-C50C-407E-A947-70E740481C1C}">
                  <a14:useLocalDpi xmlns:a14="http://schemas.microsoft.com/office/drawing/2010/main"/>
                </a:ext>
              </a:extLst>
            </a:blip>
            <a:srcRect/>
            <a:stretch>
              <a:fillRect/>
            </a:stretch>
          </p:blipFill>
          <p:spPr bwMode="auto">
            <a:xfrm>
              <a:off x="6929438" y="4422775"/>
              <a:ext cx="539750"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3" name="Gruppieren 90">
              <a:extLst>
                <a:ext uri="{FF2B5EF4-FFF2-40B4-BE49-F238E27FC236}">
                  <a16:creationId xmlns:a16="http://schemas.microsoft.com/office/drawing/2014/main" id="{8F668B9F-00E5-4012-A5DF-1ADE0DFA91DE}"/>
                </a:ext>
              </a:extLst>
            </p:cNvPr>
            <p:cNvGrpSpPr>
              <a:grpSpLocks/>
            </p:cNvGrpSpPr>
            <p:nvPr>
              <p:custDataLst>
                <p:tags r:id="rId12"/>
              </p:custDataLst>
            </p:nvPr>
          </p:nvGrpSpPr>
          <p:grpSpPr bwMode="auto">
            <a:xfrm>
              <a:off x="2682813" y="2446400"/>
              <a:ext cx="1517650" cy="933450"/>
              <a:chOff x="5862784" y="2187646"/>
              <a:chExt cx="1517528" cy="933866"/>
            </a:xfrm>
          </p:grpSpPr>
          <p:pic>
            <p:nvPicPr>
              <p:cNvPr id="125" name="Picture 4" descr="C:\Users\nikita zacharias.EXPLAIN\Desktop\Coregraphic 3.png">
                <a:extLst>
                  <a:ext uri="{FF2B5EF4-FFF2-40B4-BE49-F238E27FC236}">
                    <a16:creationId xmlns:a16="http://schemas.microsoft.com/office/drawing/2014/main" id="{CC5BF8CF-E2E2-4C54-90F8-8F472CB3BCE2}"/>
                  </a:ext>
                </a:extLst>
              </p:cNvPr>
              <p:cNvPicPr>
                <a:picLocks noChangeAspect="1" noChangeArrowheads="1"/>
              </p:cNvPicPr>
              <p:nvPr/>
            </p:nvPicPr>
            <p:blipFill>
              <a:blip r:embed="rId57" cstate="print">
                <a:extLst>
                  <a:ext uri="{28A0092B-C50C-407E-A947-70E740481C1C}">
                    <a14:useLocalDpi xmlns:a14="http://schemas.microsoft.com/office/drawing/2010/main"/>
                  </a:ext>
                </a:extLst>
              </a:blip>
              <a:srcRect/>
              <a:stretch>
                <a:fillRect/>
              </a:stretch>
            </p:blipFill>
            <p:spPr bwMode="auto">
              <a:xfrm>
                <a:off x="6183797" y="2187646"/>
                <a:ext cx="437756" cy="486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 name="Picture 4" descr="C:\Users\nikita zacharias.EXPLAIN\Desktop\Coregraphic 3.png">
                <a:extLst>
                  <a:ext uri="{FF2B5EF4-FFF2-40B4-BE49-F238E27FC236}">
                    <a16:creationId xmlns:a16="http://schemas.microsoft.com/office/drawing/2014/main" id="{8388DEED-C078-4CDD-8425-A5A3E58644FB}"/>
                  </a:ext>
                </a:extLst>
              </p:cNvPr>
              <p:cNvPicPr>
                <a:picLocks noChangeAspect="1" noChangeArrowheads="1"/>
              </p:cNvPicPr>
              <p:nvPr/>
            </p:nvPicPr>
            <p:blipFill>
              <a:blip r:embed="rId57" cstate="print">
                <a:extLst>
                  <a:ext uri="{28A0092B-C50C-407E-A947-70E740481C1C}">
                    <a14:useLocalDpi xmlns:a14="http://schemas.microsoft.com/office/drawing/2010/main"/>
                  </a:ext>
                </a:extLst>
              </a:blip>
              <a:srcRect/>
              <a:stretch>
                <a:fillRect/>
              </a:stretch>
            </p:blipFill>
            <p:spPr bwMode="auto">
              <a:xfrm>
                <a:off x="6553449" y="2343289"/>
                <a:ext cx="437756" cy="486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7" name="Picture 4" descr="C:\Users\nikita zacharias.EXPLAIN\Desktop\Coregraphic 3.png">
                <a:extLst>
                  <a:ext uri="{FF2B5EF4-FFF2-40B4-BE49-F238E27FC236}">
                    <a16:creationId xmlns:a16="http://schemas.microsoft.com/office/drawing/2014/main" id="{9D40DF1F-DBA8-4548-95C6-9FA7B7E4B942}"/>
                  </a:ext>
                </a:extLst>
              </p:cNvPr>
              <p:cNvPicPr>
                <a:picLocks noChangeAspect="1" noChangeArrowheads="1"/>
              </p:cNvPicPr>
              <p:nvPr/>
            </p:nvPicPr>
            <p:blipFill>
              <a:blip r:embed="rId57" cstate="print">
                <a:extLst>
                  <a:ext uri="{28A0092B-C50C-407E-A947-70E740481C1C}">
                    <a14:useLocalDpi xmlns:a14="http://schemas.microsoft.com/office/drawing/2010/main"/>
                  </a:ext>
                </a:extLst>
              </a:blip>
              <a:srcRect/>
              <a:stretch>
                <a:fillRect/>
              </a:stretch>
            </p:blipFill>
            <p:spPr bwMode="auto">
              <a:xfrm>
                <a:off x="6942556" y="2508659"/>
                <a:ext cx="437756" cy="486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8" name="Picture 4" descr="C:\Users\nikita zacharias.EXPLAIN\Desktop\Coregraphic 3.png">
                <a:extLst>
                  <a:ext uri="{FF2B5EF4-FFF2-40B4-BE49-F238E27FC236}">
                    <a16:creationId xmlns:a16="http://schemas.microsoft.com/office/drawing/2014/main" id="{7877B5F2-AEDF-48A4-96E6-D61557C88982}"/>
                  </a:ext>
                </a:extLst>
              </p:cNvPr>
              <p:cNvPicPr>
                <a:picLocks noChangeAspect="1" noChangeArrowheads="1"/>
              </p:cNvPicPr>
              <p:nvPr/>
            </p:nvPicPr>
            <p:blipFill>
              <a:blip r:embed="rId57" cstate="print">
                <a:extLst>
                  <a:ext uri="{28A0092B-C50C-407E-A947-70E740481C1C}">
                    <a14:useLocalDpi xmlns:a14="http://schemas.microsoft.com/office/drawing/2010/main"/>
                  </a:ext>
                </a:extLst>
              </a:blip>
              <a:srcRect/>
              <a:stretch>
                <a:fillRect/>
              </a:stretch>
            </p:blipFill>
            <p:spPr bwMode="auto">
              <a:xfrm>
                <a:off x="5862784" y="2314105"/>
                <a:ext cx="437756" cy="486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 name="Picture 4" descr="C:\Users\nikita zacharias.EXPLAIN\Desktop\Coregraphic 3.png">
                <a:extLst>
                  <a:ext uri="{FF2B5EF4-FFF2-40B4-BE49-F238E27FC236}">
                    <a16:creationId xmlns:a16="http://schemas.microsoft.com/office/drawing/2014/main" id="{36E55FED-6863-4A53-A5DD-34DC8416DB24}"/>
                  </a:ext>
                </a:extLst>
              </p:cNvPr>
              <p:cNvPicPr>
                <a:picLocks noChangeAspect="1" noChangeArrowheads="1"/>
              </p:cNvPicPr>
              <p:nvPr/>
            </p:nvPicPr>
            <p:blipFill>
              <a:blip r:embed="rId57" cstate="print">
                <a:extLst>
                  <a:ext uri="{28A0092B-C50C-407E-A947-70E740481C1C}">
                    <a14:useLocalDpi xmlns:a14="http://schemas.microsoft.com/office/drawing/2010/main"/>
                  </a:ext>
                </a:extLst>
              </a:blip>
              <a:srcRect/>
              <a:stretch>
                <a:fillRect/>
              </a:stretch>
            </p:blipFill>
            <p:spPr bwMode="auto">
              <a:xfrm>
                <a:off x="6232436" y="2469748"/>
                <a:ext cx="437756" cy="486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0" name="Picture 4" descr="C:\Users\nikita zacharias.EXPLAIN\Desktop\Coregraphic 3.png">
                <a:extLst>
                  <a:ext uri="{FF2B5EF4-FFF2-40B4-BE49-F238E27FC236}">
                    <a16:creationId xmlns:a16="http://schemas.microsoft.com/office/drawing/2014/main" id="{66E2A4A8-2E2B-440A-900C-EC8F5E56499F}"/>
                  </a:ext>
                </a:extLst>
              </p:cNvPr>
              <p:cNvPicPr>
                <a:picLocks noChangeAspect="1" noChangeArrowheads="1"/>
              </p:cNvPicPr>
              <p:nvPr/>
            </p:nvPicPr>
            <p:blipFill>
              <a:blip r:embed="rId57" cstate="print">
                <a:extLst>
                  <a:ext uri="{28A0092B-C50C-407E-A947-70E740481C1C}">
                    <a14:useLocalDpi xmlns:a14="http://schemas.microsoft.com/office/drawing/2010/main"/>
                  </a:ext>
                </a:extLst>
              </a:blip>
              <a:srcRect/>
              <a:stretch>
                <a:fillRect/>
              </a:stretch>
            </p:blipFill>
            <p:spPr bwMode="auto">
              <a:xfrm>
                <a:off x="6621543" y="2635118"/>
                <a:ext cx="437756" cy="486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4" name="Freihandform 86">
              <a:extLst>
                <a:ext uri="{FF2B5EF4-FFF2-40B4-BE49-F238E27FC236}">
                  <a16:creationId xmlns:a16="http://schemas.microsoft.com/office/drawing/2014/main" id="{232081E1-1137-47DB-9F25-BA36F2729EEE}"/>
                </a:ext>
              </a:extLst>
            </p:cNvPr>
            <p:cNvSpPr/>
            <p:nvPr/>
          </p:nvSpPr>
          <p:spPr>
            <a:xfrm>
              <a:off x="5868988" y="3992563"/>
              <a:ext cx="444500" cy="177800"/>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 name="connsiteX0" fmla="*/ 0 w 568325"/>
                <a:gd name="connsiteY0" fmla="*/ 94457 h 246857"/>
                <a:gd name="connsiteX1" fmla="*/ 233362 w 568325"/>
                <a:gd name="connsiteY1" fmla="*/ 0 h 246857"/>
                <a:gd name="connsiteX2" fmla="*/ 568325 w 568325"/>
                <a:gd name="connsiteY2" fmla="*/ 164307 h 246857"/>
                <a:gd name="connsiteX3" fmla="*/ 371475 w 568325"/>
                <a:gd name="connsiteY3" fmla="*/ 246857 h 246857"/>
                <a:gd name="connsiteX4" fmla="*/ 0 w 568325"/>
                <a:gd name="connsiteY4" fmla="*/ 94457 h 246857"/>
                <a:gd name="connsiteX0" fmla="*/ 0 w 444500"/>
                <a:gd name="connsiteY0" fmla="*/ 94457 h 246857"/>
                <a:gd name="connsiteX1" fmla="*/ 233362 w 444500"/>
                <a:gd name="connsiteY1" fmla="*/ 0 h 246857"/>
                <a:gd name="connsiteX2" fmla="*/ 444500 w 444500"/>
                <a:gd name="connsiteY2" fmla="*/ 83345 h 246857"/>
                <a:gd name="connsiteX3" fmla="*/ 371475 w 444500"/>
                <a:gd name="connsiteY3" fmla="*/ 246857 h 246857"/>
                <a:gd name="connsiteX4" fmla="*/ 0 w 444500"/>
                <a:gd name="connsiteY4" fmla="*/ 94457 h 246857"/>
                <a:gd name="connsiteX0" fmla="*/ 0 w 444500"/>
                <a:gd name="connsiteY0" fmla="*/ 94457 h 177801"/>
                <a:gd name="connsiteX1" fmla="*/ 233362 w 444500"/>
                <a:gd name="connsiteY1" fmla="*/ 0 h 177801"/>
                <a:gd name="connsiteX2" fmla="*/ 444500 w 444500"/>
                <a:gd name="connsiteY2" fmla="*/ 83345 h 177801"/>
                <a:gd name="connsiteX3" fmla="*/ 216693 w 444500"/>
                <a:gd name="connsiteY3" fmla="*/ 177801 h 177801"/>
                <a:gd name="connsiteX4" fmla="*/ 0 w 444500"/>
                <a:gd name="connsiteY4" fmla="*/ 94457 h 177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0" h="177801">
                  <a:moveTo>
                    <a:pt x="0" y="94457"/>
                  </a:moveTo>
                  <a:lnTo>
                    <a:pt x="233362" y="0"/>
                  </a:lnTo>
                  <a:lnTo>
                    <a:pt x="444500" y="83345"/>
                  </a:lnTo>
                  <a:lnTo>
                    <a:pt x="216693" y="177801"/>
                  </a:lnTo>
                  <a:lnTo>
                    <a:pt x="0" y="94457"/>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45" name="Freihandform 87">
              <a:extLst>
                <a:ext uri="{FF2B5EF4-FFF2-40B4-BE49-F238E27FC236}">
                  <a16:creationId xmlns:a16="http://schemas.microsoft.com/office/drawing/2014/main" id="{7665AC50-0522-41E9-9DA1-A1C99D05BECB}"/>
                </a:ext>
              </a:extLst>
            </p:cNvPr>
            <p:cNvSpPr/>
            <p:nvPr/>
          </p:nvSpPr>
          <p:spPr>
            <a:xfrm>
              <a:off x="6115050" y="4087813"/>
              <a:ext cx="449263" cy="187325"/>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 name="connsiteX0" fmla="*/ 0 w 568325"/>
                <a:gd name="connsiteY0" fmla="*/ 94457 h 246857"/>
                <a:gd name="connsiteX1" fmla="*/ 233362 w 568325"/>
                <a:gd name="connsiteY1" fmla="*/ 0 h 246857"/>
                <a:gd name="connsiteX2" fmla="*/ 568325 w 568325"/>
                <a:gd name="connsiteY2" fmla="*/ 164307 h 246857"/>
                <a:gd name="connsiteX3" fmla="*/ 371475 w 568325"/>
                <a:gd name="connsiteY3" fmla="*/ 246857 h 246857"/>
                <a:gd name="connsiteX4" fmla="*/ 0 w 568325"/>
                <a:gd name="connsiteY4" fmla="*/ 94457 h 246857"/>
                <a:gd name="connsiteX0" fmla="*/ 0 w 444500"/>
                <a:gd name="connsiteY0" fmla="*/ 94457 h 246857"/>
                <a:gd name="connsiteX1" fmla="*/ 233362 w 444500"/>
                <a:gd name="connsiteY1" fmla="*/ 0 h 246857"/>
                <a:gd name="connsiteX2" fmla="*/ 444500 w 444500"/>
                <a:gd name="connsiteY2" fmla="*/ 83345 h 246857"/>
                <a:gd name="connsiteX3" fmla="*/ 371475 w 444500"/>
                <a:gd name="connsiteY3" fmla="*/ 246857 h 246857"/>
                <a:gd name="connsiteX4" fmla="*/ 0 w 444500"/>
                <a:gd name="connsiteY4" fmla="*/ 94457 h 246857"/>
                <a:gd name="connsiteX0" fmla="*/ 0 w 444500"/>
                <a:gd name="connsiteY0" fmla="*/ 94457 h 177801"/>
                <a:gd name="connsiteX1" fmla="*/ 233362 w 444500"/>
                <a:gd name="connsiteY1" fmla="*/ 0 h 177801"/>
                <a:gd name="connsiteX2" fmla="*/ 444500 w 444500"/>
                <a:gd name="connsiteY2" fmla="*/ 83345 h 177801"/>
                <a:gd name="connsiteX3" fmla="*/ 216693 w 444500"/>
                <a:gd name="connsiteY3" fmla="*/ 177801 h 177801"/>
                <a:gd name="connsiteX4" fmla="*/ 0 w 444500"/>
                <a:gd name="connsiteY4" fmla="*/ 94457 h 177801"/>
                <a:gd name="connsiteX0" fmla="*/ 0 w 444500"/>
                <a:gd name="connsiteY0" fmla="*/ 94457 h 187326"/>
                <a:gd name="connsiteX1" fmla="*/ 233362 w 444500"/>
                <a:gd name="connsiteY1" fmla="*/ 0 h 187326"/>
                <a:gd name="connsiteX2" fmla="*/ 444500 w 444500"/>
                <a:gd name="connsiteY2" fmla="*/ 83345 h 187326"/>
                <a:gd name="connsiteX3" fmla="*/ 223836 w 444500"/>
                <a:gd name="connsiteY3" fmla="*/ 187326 h 187326"/>
                <a:gd name="connsiteX4" fmla="*/ 0 w 444500"/>
                <a:gd name="connsiteY4" fmla="*/ 94457 h 187326"/>
                <a:gd name="connsiteX0" fmla="*/ 0 w 449263"/>
                <a:gd name="connsiteY0" fmla="*/ 94457 h 187326"/>
                <a:gd name="connsiteX1" fmla="*/ 233362 w 449263"/>
                <a:gd name="connsiteY1" fmla="*/ 0 h 187326"/>
                <a:gd name="connsiteX2" fmla="*/ 449263 w 449263"/>
                <a:gd name="connsiteY2" fmla="*/ 95251 h 187326"/>
                <a:gd name="connsiteX3" fmla="*/ 223836 w 449263"/>
                <a:gd name="connsiteY3" fmla="*/ 187326 h 187326"/>
                <a:gd name="connsiteX4" fmla="*/ 0 w 449263"/>
                <a:gd name="connsiteY4" fmla="*/ 94457 h 187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263" h="187326">
                  <a:moveTo>
                    <a:pt x="0" y="94457"/>
                  </a:moveTo>
                  <a:lnTo>
                    <a:pt x="233362" y="0"/>
                  </a:lnTo>
                  <a:lnTo>
                    <a:pt x="449263" y="95251"/>
                  </a:lnTo>
                  <a:lnTo>
                    <a:pt x="223836" y="187326"/>
                  </a:lnTo>
                  <a:lnTo>
                    <a:pt x="0" y="94457"/>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46" name="Freihandform 88">
              <a:extLst>
                <a:ext uri="{FF2B5EF4-FFF2-40B4-BE49-F238E27FC236}">
                  <a16:creationId xmlns:a16="http://schemas.microsoft.com/office/drawing/2014/main" id="{9D03497C-4578-4E96-A888-B66B6FD85D6F}"/>
                </a:ext>
              </a:extLst>
            </p:cNvPr>
            <p:cNvSpPr/>
            <p:nvPr/>
          </p:nvSpPr>
          <p:spPr>
            <a:xfrm>
              <a:off x="6116638" y="3889375"/>
              <a:ext cx="444500" cy="177800"/>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 name="connsiteX0" fmla="*/ 0 w 568325"/>
                <a:gd name="connsiteY0" fmla="*/ 94457 h 246857"/>
                <a:gd name="connsiteX1" fmla="*/ 233362 w 568325"/>
                <a:gd name="connsiteY1" fmla="*/ 0 h 246857"/>
                <a:gd name="connsiteX2" fmla="*/ 568325 w 568325"/>
                <a:gd name="connsiteY2" fmla="*/ 164307 h 246857"/>
                <a:gd name="connsiteX3" fmla="*/ 371475 w 568325"/>
                <a:gd name="connsiteY3" fmla="*/ 246857 h 246857"/>
                <a:gd name="connsiteX4" fmla="*/ 0 w 568325"/>
                <a:gd name="connsiteY4" fmla="*/ 94457 h 246857"/>
                <a:gd name="connsiteX0" fmla="*/ 0 w 444500"/>
                <a:gd name="connsiteY0" fmla="*/ 94457 h 246857"/>
                <a:gd name="connsiteX1" fmla="*/ 233362 w 444500"/>
                <a:gd name="connsiteY1" fmla="*/ 0 h 246857"/>
                <a:gd name="connsiteX2" fmla="*/ 444500 w 444500"/>
                <a:gd name="connsiteY2" fmla="*/ 83345 h 246857"/>
                <a:gd name="connsiteX3" fmla="*/ 371475 w 444500"/>
                <a:gd name="connsiteY3" fmla="*/ 246857 h 246857"/>
                <a:gd name="connsiteX4" fmla="*/ 0 w 444500"/>
                <a:gd name="connsiteY4" fmla="*/ 94457 h 246857"/>
                <a:gd name="connsiteX0" fmla="*/ 0 w 444500"/>
                <a:gd name="connsiteY0" fmla="*/ 94457 h 177801"/>
                <a:gd name="connsiteX1" fmla="*/ 233362 w 444500"/>
                <a:gd name="connsiteY1" fmla="*/ 0 h 177801"/>
                <a:gd name="connsiteX2" fmla="*/ 444500 w 444500"/>
                <a:gd name="connsiteY2" fmla="*/ 83345 h 177801"/>
                <a:gd name="connsiteX3" fmla="*/ 216693 w 444500"/>
                <a:gd name="connsiteY3" fmla="*/ 177801 h 177801"/>
                <a:gd name="connsiteX4" fmla="*/ 0 w 444500"/>
                <a:gd name="connsiteY4" fmla="*/ 94457 h 177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0" h="177801">
                  <a:moveTo>
                    <a:pt x="0" y="94457"/>
                  </a:moveTo>
                  <a:lnTo>
                    <a:pt x="233362" y="0"/>
                  </a:lnTo>
                  <a:lnTo>
                    <a:pt x="444500" y="83345"/>
                  </a:lnTo>
                  <a:lnTo>
                    <a:pt x="216693" y="177801"/>
                  </a:lnTo>
                  <a:lnTo>
                    <a:pt x="0" y="94457"/>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47" name="Freihandform 89">
              <a:extLst>
                <a:ext uri="{FF2B5EF4-FFF2-40B4-BE49-F238E27FC236}">
                  <a16:creationId xmlns:a16="http://schemas.microsoft.com/office/drawing/2014/main" id="{FC78A524-D197-4DDC-AD21-7CB444A48345}"/>
                </a:ext>
              </a:extLst>
            </p:cNvPr>
            <p:cNvSpPr/>
            <p:nvPr/>
          </p:nvSpPr>
          <p:spPr>
            <a:xfrm>
              <a:off x="6618288" y="4087813"/>
              <a:ext cx="450850" cy="184150"/>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 name="connsiteX0" fmla="*/ 0 w 568325"/>
                <a:gd name="connsiteY0" fmla="*/ 94457 h 246857"/>
                <a:gd name="connsiteX1" fmla="*/ 233362 w 568325"/>
                <a:gd name="connsiteY1" fmla="*/ 0 h 246857"/>
                <a:gd name="connsiteX2" fmla="*/ 568325 w 568325"/>
                <a:gd name="connsiteY2" fmla="*/ 164307 h 246857"/>
                <a:gd name="connsiteX3" fmla="*/ 371475 w 568325"/>
                <a:gd name="connsiteY3" fmla="*/ 246857 h 246857"/>
                <a:gd name="connsiteX4" fmla="*/ 0 w 568325"/>
                <a:gd name="connsiteY4" fmla="*/ 94457 h 246857"/>
                <a:gd name="connsiteX0" fmla="*/ 0 w 444500"/>
                <a:gd name="connsiteY0" fmla="*/ 94457 h 246857"/>
                <a:gd name="connsiteX1" fmla="*/ 233362 w 444500"/>
                <a:gd name="connsiteY1" fmla="*/ 0 h 246857"/>
                <a:gd name="connsiteX2" fmla="*/ 444500 w 444500"/>
                <a:gd name="connsiteY2" fmla="*/ 83345 h 246857"/>
                <a:gd name="connsiteX3" fmla="*/ 371475 w 444500"/>
                <a:gd name="connsiteY3" fmla="*/ 246857 h 246857"/>
                <a:gd name="connsiteX4" fmla="*/ 0 w 444500"/>
                <a:gd name="connsiteY4" fmla="*/ 94457 h 246857"/>
                <a:gd name="connsiteX0" fmla="*/ 0 w 444500"/>
                <a:gd name="connsiteY0" fmla="*/ 94457 h 177801"/>
                <a:gd name="connsiteX1" fmla="*/ 233362 w 444500"/>
                <a:gd name="connsiteY1" fmla="*/ 0 h 177801"/>
                <a:gd name="connsiteX2" fmla="*/ 444500 w 444500"/>
                <a:gd name="connsiteY2" fmla="*/ 83345 h 177801"/>
                <a:gd name="connsiteX3" fmla="*/ 216693 w 444500"/>
                <a:gd name="connsiteY3" fmla="*/ 177801 h 177801"/>
                <a:gd name="connsiteX4" fmla="*/ 0 w 444500"/>
                <a:gd name="connsiteY4" fmla="*/ 94457 h 177801"/>
                <a:gd name="connsiteX0" fmla="*/ 0 w 444500"/>
                <a:gd name="connsiteY0" fmla="*/ 101601 h 184945"/>
                <a:gd name="connsiteX1" fmla="*/ 226218 w 444500"/>
                <a:gd name="connsiteY1" fmla="*/ 0 h 184945"/>
                <a:gd name="connsiteX2" fmla="*/ 444500 w 444500"/>
                <a:gd name="connsiteY2" fmla="*/ 90489 h 184945"/>
                <a:gd name="connsiteX3" fmla="*/ 216693 w 444500"/>
                <a:gd name="connsiteY3" fmla="*/ 184945 h 184945"/>
                <a:gd name="connsiteX4" fmla="*/ 0 w 444500"/>
                <a:gd name="connsiteY4" fmla="*/ 101601 h 184945"/>
                <a:gd name="connsiteX0" fmla="*/ 0 w 451644"/>
                <a:gd name="connsiteY0" fmla="*/ 101601 h 184945"/>
                <a:gd name="connsiteX1" fmla="*/ 226218 w 451644"/>
                <a:gd name="connsiteY1" fmla="*/ 0 h 184945"/>
                <a:gd name="connsiteX2" fmla="*/ 451644 w 451644"/>
                <a:gd name="connsiteY2" fmla="*/ 97632 h 184945"/>
                <a:gd name="connsiteX3" fmla="*/ 216693 w 451644"/>
                <a:gd name="connsiteY3" fmla="*/ 184945 h 184945"/>
                <a:gd name="connsiteX4" fmla="*/ 0 w 451644"/>
                <a:gd name="connsiteY4" fmla="*/ 101601 h 184945"/>
                <a:gd name="connsiteX0" fmla="*/ 0 w 451644"/>
                <a:gd name="connsiteY0" fmla="*/ 101601 h 184945"/>
                <a:gd name="connsiteX1" fmla="*/ 226218 w 451644"/>
                <a:gd name="connsiteY1" fmla="*/ 0 h 184945"/>
                <a:gd name="connsiteX2" fmla="*/ 451644 w 451644"/>
                <a:gd name="connsiteY2" fmla="*/ 97632 h 184945"/>
                <a:gd name="connsiteX3" fmla="*/ 223836 w 451644"/>
                <a:gd name="connsiteY3" fmla="*/ 184945 h 184945"/>
                <a:gd name="connsiteX4" fmla="*/ 0 w 451644"/>
                <a:gd name="connsiteY4" fmla="*/ 101601 h 184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644" h="184945">
                  <a:moveTo>
                    <a:pt x="0" y="101601"/>
                  </a:moveTo>
                  <a:lnTo>
                    <a:pt x="226218" y="0"/>
                  </a:lnTo>
                  <a:lnTo>
                    <a:pt x="451644" y="97632"/>
                  </a:lnTo>
                  <a:lnTo>
                    <a:pt x="223836" y="184945"/>
                  </a:lnTo>
                  <a:lnTo>
                    <a:pt x="0" y="101601"/>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48" name="Freihandform 90">
              <a:extLst>
                <a:ext uri="{FF2B5EF4-FFF2-40B4-BE49-F238E27FC236}">
                  <a16:creationId xmlns:a16="http://schemas.microsoft.com/office/drawing/2014/main" id="{877827F5-97E3-4914-AA81-B2F112A15C99}"/>
                </a:ext>
              </a:extLst>
            </p:cNvPr>
            <p:cNvSpPr/>
            <p:nvPr/>
          </p:nvSpPr>
          <p:spPr>
            <a:xfrm>
              <a:off x="6365875" y="4194175"/>
              <a:ext cx="458788" cy="185738"/>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 name="connsiteX0" fmla="*/ 0 w 568325"/>
                <a:gd name="connsiteY0" fmla="*/ 94457 h 246857"/>
                <a:gd name="connsiteX1" fmla="*/ 233362 w 568325"/>
                <a:gd name="connsiteY1" fmla="*/ 0 h 246857"/>
                <a:gd name="connsiteX2" fmla="*/ 568325 w 568325"/>
                <a:gd name="connsiteY2" fmla="*/ 164307 h 246857"/>
                <a:gd name="connsiteX3" fmla="*/ 371475 w 568325"/>
                <a:gd name="connsiteY3" fmla="*/ 246857 h 246857"/>
                <a:gd name="connsiteX4" fmla="*/ 0 w 568325"/>
                <a:gd name="connsiteY4" fmla="*/ 94457 h 246857"/>
                <a:gd name="connsiteX0" fmla="*/ 0 w 444500"/>
                <a:gd name="connsiteY0" fmla="*/ 94457 h 246857"/>
                <a:gd name="connsiteX1" fmla="*/ 233362 w 444500"/>
                <a:gd name="connsiteY1" fmla="*/ 0 h 246857"/>
                <a:gd name="connsiteX2" fmla="*/ 444500 w 444500"/>
                <a:gd name="connsiteY2" fmla="*/ 83345 h 246857"/>
                <a:gd name="connsiteX3" fmla="*/ 371475 w 444500"/>
                <a:gd name="connsiteY3" fmla="*/ 246857 h 246857"/>
                <a:gd name="connsiteX4" fmla="*/ 0 w 444500"/>
                <a:gd name="connsiteY4" fmla="*/ 94457 h 246857"/>
                <a:gd name="connsiteX0" fmla="*/ 0 w 444500"/>
                <a:gd name="connsiteY0" fmla="*/ 94457 h 177801"/>
                <a:gd name="connsiteX1" fmla="*/ 233362 w 444500"/>
                <a:gd name="connsiteY1" fmla="*/ 0 h 177801"/>
                <a:gd name="connsiteX2" fmla="*/ 444500 w 444500"/>
                <a:gd name="connsiteY2" fmla="*/ 83345 h 177801"/>
                <a:gd name="connsiteX3" fmla="*/ 216693 w 444500"/>
                <a:gd name="connsiteY3" fmla="*/ 177801 h 177801"/>
                <a:gd name="connsiteX4" fmla="*/ 0 w 444500"/>
                <a:gd name="connsiteY4" fmla="*/ 94457 h 177801"/>
                <a:gd name="connsiteX0" fmla="*/ 0 w 458788"/>
                <a:gd name="connsiteY0" fmla="*/ 94457 h 177801"/>
                <a:gd name="connsiteX1" fmla="*/ 233362 w 458788"/>
                <a:gd name="connsiteY1" fmla="*/ 0 h 177801"/>
                <a:gd name="connsiteX2" fmla="*/ 458788 w 458788"/>
                <a:gd name="connsiteY2" fmla="*/ 88108 h 177801"/>
                <a:gd name="connsiteX3" fmla="*/ 216693 w 458788"/>
                <a:gd name="connsiteY3" fmla="*/ 177801 h 177801"/>
                <a:gd name="connsiteX4" fmla="*/ 0 w 458788"/>
                <a:gd name="connsiteY4" fmla="*/ 94457 h 177801"/>
                <a:gd name="connsiteX0" fmla="*/ 0 w 458788"/>
                <a:gd name="connsiteY0" fmla="*/ 94457 h 184945"/>
                <a:gd name="connsiteX1" fmla="*/ 233362 w 458788"/>
                <a:gd name="connsiteY1" fmla="*/ 0 h 184945"/>
                <a:gd name="connsiteX2" fmla="*/ 458788 w 458788"/>
                <a:gd name="connsiteY2" fmla="*/ 88108 h 184945"/>
                <a:gd name="connsiteX3" fmla="*/ 230981 w 458788"/>
                <a:gd name="connsiteY3" fmla="*/ 184945 h 184945"/>
                <a:gd name="connsiteX4" fmla="*/ 0 w 458788"/>
                <a:gd name="connsiteY4" fmla="*/ 94457 h 184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788" h="184945">
                  <a:moveTo>
                    <a:pt x="0" y="94457"/>
                  </a:moveTo>
                  <a:lnTo>
                    <a:pt x="233362" y="0"/>
                  </a:lnTo>
                  <a:lnTo>
                    <a:pt x="458788" y="88108"/>
                  </a:lnTo>
                  <a:lnTo>
                    <a:pt x="230981" y="184945"/>
                  </a:lnTo>
                  <a:lnTo>
                    <a:pt x="0" y="94457"/>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49" name="Freihandform 91">
              <a:extLst>
                <a:ext uri="{FF2B5EF4-FFF2-40B4-BE49-F238E27FC236}">
                  <a16:creationId xmlns:a16="http://schemas.microsoft.com/office/drawing/2014/main" id="{41743DB8-3F70-4876-87DF-F445E16C46E9}"/>
                </a:ext>
              </a:extLst>
            </p:cNvPr>
            <p:cNvSpPr/>
            <p:nvPr/>
          </p:nvSpPr>
          <p:spPr>
            <a:xfrm>
              <a:off x="6361113" y="3983038"/>
              <a:ext cx="458787" cy="192087"/>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 name="connsiteX0" fmla="*/ 0 w 568325"/>
                <a:gd name="connsiteY0" fmla="*/ 94457 h 246857"/>
                <a:gd name="connsiteX1" fmla="*/ 233362 w 568325"/>
                <a:gd name="connsiteY1" fmla="*/ 0 h 246857"/>
                <a:gd name="connsiteX2" fmla="*/ 568325 w 568325"/>
                <a:gd name="connsiteY2" fmla="*/ 164307 h 246857"/>
                <a:gd name="connsiteX3" fmla="*/ 371475 w 568325"/>
                <a:gd name="connsiteY3" fmla="*/ 246857 h 246857"/>
                <a:gd name="connsiteX4" fmla="*/ 0 w 568325"/>
                <a:gd name="connsiteY4" fmla="*/ 94457 h 246857"/>
                <a:gd name="connsiteX0" fmla="*/ 0 w 444500"/>
                <a:gd name="connsiteY0" fmla="*/ 94457 h 246857"/>
                <a:gd name="connsiteX1" fmla="*/ 233362 w 444500"/>
                <a:gd name="connsiteY1" fmla="*/ 0 h 246857"/>
                <a:gd name="connsiteX2" fmla="*/ 444500 w 444500"/>
                <a:gd name="connsiteY2" fmla="*/ 83345 h 246857"/>
                <a:gd name="connsiteX3" fmla="*/ 371475 w 444500"/>
                <a:gd name="connsiteY3" fmla="*/ 246857 h 246857"/>
                <a:gd name="connsiteX4" fmla="*/ 0 w 444500"/>
                <a:gd name="connsiteY4" fmla="*/ 94457 h 246857"/>
                <a:gd name="connsiteX0" fmla="*/ 0 w 444500"/>
                <a:gd name="connsiteY0" fmla="*/ 94457 h 177801"/>
                <a:gd name="connsiteX1" fmla="*/ 233362 w 444500"/>
                <a:gd name="connsiteY1" fmla="*/ 0 h 177801"/>
                <a:gd name="connsiteX2" fmla="*/ 444500 w 444500"/>
                <a:gd name="connsiteY2" fmla="*/ 83345 h 177801"/>
                <a:gd name="connsiteX3" fmla="*/ 216693 w 444500"/>
                <a:gd name="connsiteY3" fmla="*/ 177801 h 177801"/>
                <a:gd name="connsiteX4" fmla="*/ 0 w 444500"/>
                <a:gd name="connsiteY4" fmla="*/ 94457 h 177801"/>
                <a:gd name="connsiteX0" fmla="*/ 0 w 444500"/>
                <a:gd name="connsiteY0" fmla="*/ 106363 h 189707"/>
                <a:gd name="connsiteX1" fmla="*/ 219075 w 444500"/>
                <a:gd name="connsiteY1" fmla="*/ 0 h 189707"/>
                <a:gd name="connsiteX2" fmla="*/ 444500 w 444500"/>
                <a:gd name="connsiteY2" fmla="*/ 95251 h 189707"/>
                <a:gd name="connsiteX3" fmla="*/ 216693 w 444500"/>
                <a:gd name="connsiteY3" fmla="*/ 189707 h 189707"/>
                <a:gd name="connsiteX4" fmla="*/ 0 w 444500"/>
                <a:gd name="connsiteY4" fmla="*/ 106363 h 189707"/>
                <a:gd name="connsiteX0" fmla="*/ 0 w 451644"/>
                <a:gd name="connsiteY0" fmla="*/ 101601 h 189707"/>
                <a:gd name="connsiteX1" fmla="*/ 226219 w 451644"/>
                <a:gd name="connsiteY1" fmla="*/ 0 h 189707"/>
                <a:gd name="connsiteX2" fmla="*/ 451644 w 451644"/>
                <a:gd name="connsiteY2" fmla="*/ 95251 h 189707"/>
                <a:gd name="connsiteX3" fmla="*/ 223837 w 451644"/>
                <a:gd name="connsiteY3" fmla="*/ 189707 h 189707"/>
                <a:gd name="connsiteX4" fmla="*/ 0 w 451644"/>
                <a:gd name="connsiteY4" fmla="*/ 101601 h 189707"/>
                <a:gd name="connsiteX0" fmla="*/ 0 w 458788"/>
                <a:gd name="connsiteY0" fmla="*/ 101601 h 189707"/>
                <a:gd name="connsiteX1" fmla="*/ 226219 w 458788"/>
                <a:gd name="connsiteY1" fmla="*/ 0 h 189707"/>
                <a:gd name="connsiteX2" fmla="*/ 458788 w 458788"/>
                <a:gd name="connsiteY2" fmla="*/ 97632 h 189707"/>
                <a:gd name="connsiteX3" fmla="*/ 223837 w 458788"/>
                <a:gd name="connsiteY3" fmla="*/ 189707 h 189707"/>
                <a:gd name="connsiteX4" fmla="*/ 0 w 458788"/>
                <a:gd name="connsiteY4" fmla="*/ 101601 h 189707"/>
                <a:gd name="connsiteX0" fmla="*/ 0 w 458788"/>
                <a:gd name="connsiteY0" fmla="*/ 101601 h 192088"/>
                <a:gd name="connsiteX1" fmla="*/ 226219 w 458788"/>
                <a:gd name="connsiteY1" fmla="*/ 0 h 192088"/>
                <a:gd name="connsiteX2" fmla="*/ 458788 w 458788"/>
                <a:gd name="connsiteY2" fmla="*/ 97632 h 192088"/>
                <a:gd name="connsiteX3" fmla="*/ 230981 w 458788"/>
                <a:gd name="connsiteY3" fmla="*/ 192088 h 192088"/>
                <a:gd name="connsiteX4" fmla="*/ 0 w 458788"/>
                <a:gd name="connsiteY4" fmla="*/ 101601 h 192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8788" h="192088">
                  <a:moveTo>
                    <a:pt x="0" y="101601"/>
                  </a:moveTo>
                  <a:lnTo>
                    <a:pt x="226219" y="0"/>
                  </a:lnTo>
                  <a:lnTo>
                    <a:pt x="458788" y="97632"/>
                  </a:lnTo>
                  <a:lnTo>
                    <a:pt x="230981" y="192088"/>
                  </a:lnTo>
                  <a:lnTo>
                    <a:pt x="0" y="101601"/>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50" name="Freihandform 92">
              <a:extLst>
                <a:ext uri="{FF2B5EF4-FFF2-40B4-BE49-F238E27FC236}">
                  <a16:creationId xmlns:a16="http://schemas.microsoft.com/office/drawing/2014/main" id="{213BA047-A970-424D-91CD-73E2A9EC2B83}"/>
                </a:ext>
              </a:extLst>
            </p:cNvPr>
            <p:cNvSpPr/>
            <p:nvPr/>
          </p:nvSpPr>
          <p:spPr>
            <a:xfrm>
              <a:off x="6865938" y="4189413"/>
              <a:ext cx="450850" cy="187325"/>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 name="connsiteX0" fmla="*/ 0 w 568325"/>
                <a:gd name="connsiteY0" fmla="*/ 94457 h 246857"/>
                <a:gd name="connsiteX1" fmla="*/ 233362 w 568325"/>
                <a:gd name="connsiteY1" fmla="*/ 0 h 246857"/>
                <a:gd name="connsiteX2" fmla="*/ 568325 w 568325"/>
                <a:gd name="connsiteY2" fmla="*/ 164307 h 246857"/>
                <a:gd name="connsiteX3" fmla="*/ 371475 w 568325"/>
                <a:gd name="connsiteY3" fmla="*/ 246857 h 246857"/>
                <a:gd name="connsiteX4" fmla="*/ 0 w 568325"/>
                <a:gd name="connsiteY4" fmla="*/ 94457 h 246857"/>
                <a:gd name="connsiteX0" fmla="*/ 0 w 444500"/>
                <a:gd name="connsiteY0" fmla="*/ 94457 h 246857"/>
                <a:gd name="connsiteX1" fmla="*/ 233362 w 444500"/>
                <a:gd name="connsiteY1" fmla="*/ 0 h 246857"/>
                <a:gd name="connsiteX2" fmla="*/ 444500 w 444500"/>
                <a:gd name="connsiteY2" fmla="*/ 83345 h 246857"/>
                <a:gd name="connsiteX3" fmla="*/ 371475 w 444500"/>
                <a:gd name="connsiteY3" fmla="*/ 246857 h 246857"/>
                <a:gd name="connsiteX4" fmla="*/ 0 w 444500"/>
                <a:gd name="connsiteY4" fmla="*/ 94457 h 246857"/>
                <a:gd name="connsiteX0" fmla="*/ 0 w 444500"/>
                <a:gd name="connsiteY0" fmla="*/ 94457 h 177801"/>
                <a:gd name="connsiteX1" fmla="*/ 233362 w 444500"/>
                <a:gd name="connsiteY1" fmla="*/ 0 h 177801"/>
                <a:gd name="connsiteX2" fmla="*/ 444500 w 444500"/>
                <a:gd name="connsiteY2" fmla="*/ 83345 h 177801"/>
                <a:gd name="connsiteX3" fmla="*/ 216693 w 444500"/>
                <a:gd name="connsiteY3" fmla="*/ 177801 h 177801"/>
                <a:gd name="connsiteX4" fmla="*/ 0 w 444500"/>
                <a:gd name="connsiteY4" fmla="*/ 94457 h 177801"/>
                <a:gd name="connsiteX0" fmla="*/ 0 w 444500"/>
                <a:gd name="connsiteY0" fmla="*/ 94457 h 187326"/>
                <a:gd name="connsiteX1" fmla="*/ 233362 w 444500"/>
                <a:gd name="connsiteY1" fmla="*/ 0 h 187326"/>
                <a:gd name="connsiteX2" fmla="*/ 444500 w 444500"/>
                <a:gd name="connsiteY2" fmla="*/ 83345 h 187326"/>
                <a:gd name="connsiteX3" fmla="*/ 226218 w 444500"/>
                <a:gd name="connsiteY3" fmla="*/ 187326 h 187326"/>
                <a:gd name="connsiteX4" fmla="*/ 0 w 444500"/>
                <a:gd name="connsiteY4" fmla="*/ 94457 h 187326"/>
                <a:gd name="connsiteX0" fmla="*/ 0 w 446881"/>
                <a:gd name="connsiteY0" fmla="*/ 94457 h 187326"/>
                <a:gd name="connsiteX1" fmla="*/ 233362 w 446881"/>
                <a:gd name="connsiteY1" fmla="*/ 0 h 187326"/>
                <a:gd name="connsiteX2" fmla="*/ 446881 w 446881"/>
                <a:gd name="connsiteY2" fmla="*/ 97633 h 187326"/>
                <a:gd name="connsiteX3" fmla="*/ 226218 w 446881"/>
                <a:gd name="connsiteY3" fmla="*/ 187326 h 187326"/>
                <a:gd name="connsiteX4" fmla="*/ 0 w 446881"/>
                <a:gd name="connsiteY4" fmla="*/ 94457 h 187326"/>
                <a:gd name="connsiteX0" fmla="*/ 0 w 451644"/>
                <a:gd name="connsiteY0" fmla="*/ 94457 h 187326"/>
                <a:gd name="connsiteX1" fmla="*/ 233362 w 451644"/>
                <a:gd name="connsiteY1" fmla="*/ 0 h 187326"/>
                <a:gd name="connsiteX2" fmla="*/ 451644 w 451644"/>
                <a:gd name="connsiteY2" fmla="*/ 92871 h 187326"/>
                <a:gd name="connsiteX3" fmla="*/ 226218 w 451644"/>
                <a:gd name="connsiteY3" fmla="*/ 187326 h 187326"/>
                <a:gd name="connsiteX4" fmla="*/ 0 w 451644"/>
                <a:gd name="connsiteY4" fmla="*/ 94457 h 187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644" h="187326">
                  <a:moveTo>
                    <a:pt x="0" y="94457"/>
                  </a:moveTo>
                  <a:lnTo>
                    <a:pt x="233362" y="0"/>
                  </a:lnTo>
                  <a:lnTo>
                    <a:pt x="451644" y="92871"/>
                  </a:lnTo>
                  <a:lnTo>
                    <a:pt x="226218" y="187326"/>
                  </a:lnTo>
                  <a:lnTo>
                    <a:pt x="0" y="94457"/>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51" name="Freihandform 93">
              <a:extLst>
                <a:ext uri="{FF2B5EF4-FFF2-40B4-BE49-F238E27FC236}">
                  <a16:creationId xmlns:a16="http://schemas.microsoft.com/office/drawing/2014/main" id="{F4278BE7-5119-4BF4-B57A-C986A62229A1}"/>
                </a:ext>
              </a:extLst>
            </p:cNvPr>
            <p:cNvSpPr/>
            <p:nvPr/>
          </p:nvSpPr>
          <p:spPr>
            <a:xfrm>
              <a:off x="6619875" y="4292600"/>
              <a:ext cx="452438" cy="184150"/>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 name="connsiteX0" fmla="*/ 0 w 568325"/>
                <a:gd name="connsiteY0" fmla="*/ 94457 h 246857"/>
                <a:gd name="connsiteX1" fmla="*/ 233362 w 568325"/>
                <a:gd name="connsiteY1" fmla="*/ 0 h 246857"/>
                <a:gd name="connsiteX2" fmla="*/ 568325 w 568325"/>
                <a:gd name="connsiteY2" fmla="*/ 164307 h 246857"/>
                <a:gd name="connsiteX3" fmla="*/ 371475 w 568325"/>
                <a:gd name="connsiteY3" fmla="*/ 246857 h 246857"/>
                <a:gd name="connsiteX4" fmla="*/ 0 w 568325"/>
                <a:gd name="connsiteY4" fmla="*/ 94457 h 246857"/>
                <a:gd name="connsiteX0" fmla="*/ 0 w 444500"/>
                <a:gd name="connsiteY0" fmla="*/ 94457 h 246857"/>
                <a:gd name="connsiteX1" fmla="*/ 233362 w 444500"/>
                <a:gd name="connsiteY1" fmla="*/ 0 h 246857"/>
                <a:gd name="connsiteX2" fmla="*/ 444500 w 444500"/>
                <a:gd name="connsiteY2" fmla="*/ 83345 h 246857"/>
                <a:gd name="connsiteX3" fmla="*/ 371475 w 444500"/>
                <a:gd name="connsiteY3" fmla="*/ 246857 h 246857"/>
                <a:gd name="connsiteX4" fmla="*/ 0 w 444500"/>
                <a:gd name="connsiteY4" fmla="*/ 94457 h 246857"/>
                <a:gd name="connsiteX0" fmla="*/ 0 w 444500"/>
                <a:gd name="connsiteY0" fmla="*/ 94457 h 177801"/>
                <a:gd name="connsiteX1" fmla="*/ 233362 w 444500"/>
                <a:gd name="connsiteY1" fmla="*/ 0 h 177801"/>
                <a:gd name="connsiteX2" fmla="*/ 444500 w 444500"/>
                <a:gd name="connsiteY2" fmla="*/ 83345 h 177801"/>
                <a:gd name="connsiteX3" fmla="*/ 216693 w 444500"/>
                <a:gd name="connsiteY3" fmla="*/ 177801 h 177801"/>
                <a:gd name="connsiteX4" fmla="*/ 0 w 444500"/>
                <a:gd name="connsiteY4" fmla="*/ 94457 h 177801"/>
                <a:gd name="connsiteX0" fmla="*/ 0 w 446881"/>
                <a:gd name="connsiteY0" fmla="*/ 94457 h 177801"/>
                <a:gd name="connsiteX1" fmla="*/ 233362 w 446881"/>
                <a:gd name="connsiteY1" fmla="*/ 0 h 177801"/>
                <a:gd name="connsiteX2" fmla="*/ 446881 w 446881"/>
                <a:gd name="connsiteY2" fmla="*/ 92870 h 177801"/>
                <a:gd name="connsiteX3" fmla="*/ 216693 w 446881"/>
                <a:gd name="connsiteY3" fmla="*/ 177801 h 177801"/>
                <a:gd name="connsiteX4" fmla="*/ 0 w 446881"/>
                <a:gd name="connsiteY4" fmla="*/ 94457 h 177801"/>
                <a:gd name="connsiteX0" fmla="*/ 0 w 451643"/>
                <a:gd name="connsiteY0" fmla="*/ 94457 h 177801"/>
                <a:gd name="connsiteX1" fmla="*/ 233362 w 451643"/>
                <a:gd name="connsiteY1" fmla="*/ 0 h 177801"/>
                <a:gd name="connsiteX2" fmla="*/ 451643 w 451643"/>
                <a:gd name="connsiteY2" fmla="*/ 88107 h 177801"/>
                <a:gd name="connsiteX3" fmla="*/ 216693 w 451643"/>
                <a:gd name="connsiteY3" fmla="*/ 177801 h 177801"/>
                <a:gd name="connsiteX4" fmla="*/ 0 w 451643"/>
                <a:gd name="connsiteY4" fmla="*/ 94457 h 177801"/>
                <a:gd name="connsiteX0" fmla="*/ 0 w 451643"/>
                <a:gd name="connsiteY0" fmla="*/ 94457 h 180182"/>
                <a:gd name="connsiteX1" fmla="*/ 233362 w 451643"/>
                <a:gd name="connsiteY1" fmla="*/ 0 h 180182"/>
                <a:gd name="connsiteX2" fmla="*/ 451643 w 451643"/>
                <a:gd name="connsiteY2" fmla="*/ 88107 h 180182"/>
                <a:gd name="connsiteX3" fmla="*/ 228599 w 451643"/>
                <a:gd name="connsiteY3" fmla="*/ 180182 h 180182"/>
                <a:gd name="connsiteX4" fmla="*/ 0 w 451643"/>
                <a:gd name="connsiteY4" fmla="*/ 94457 h 180182"/>
                <a:gd name="connsiteX0" fmla="*/ 0 w 451643"/>
                <a:gd name="connsiteY0" fmla="*/ 99219 h 184944"/>
                <a:gd name="connsiteX1" fmla="*/ 226218 w 451643"/>
                <a:gd name="connsiteY1" fmla="*/ 0 h 184944"/>
                <a:gd name="connsiteX2" fmla="*/ 451643 w 451643"/>
                <a:gd name="connsiteY2" fmla="*/ 92869 h 184944"/>
                <a:gd name="connsiteX3" fmla="*/ 228599 w 451643"/>
                <a:gd name="connsiteY3" fmla="*/ 184944 h 184944"/>
                <a:gd name="connsiteX4" fmla="*/ 0 w 451643"/>
                <a:gd name="connsiteY4" fmla="*/ 99219 h 184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643" h="184944">
                  <a:moveTo>
                    <a:pt x="0" y="99219"/>
                  </a:moveTo>
                  <a:lnTo>
                    <a:pt x="226218" y="0"/>
                  </a:lnTo>
                  <a:lnTo>
                    <a:pt x="451643" y="92869"/>
                  </a:lnTo>
                  <a:lnTo>
                    <a:pt x="228599" y="184944"/>
                  </a:lnTo>
                  <a:lnTo>
                    <a:pt x="0" y="99219"/>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52" name="Ellipse 94">
              <a:extLst>
                <a:ext uri="{FF2B5EF4-FFF2-40B4-BE49-F238E27FC236}">
                  <a16:creationId xmlns:a16="http://schemas.microsoft.com/office/drawing/2014/main" id="{347BAB37-C349-4899-89EE-00379B2F7E38}"/>
                </a:ext>
              </a:extLst>
            </p:cNvPr>
            <p:cNvSpPr/>
            <p:nvPr/>
          </p:nvSpPr>
          <p:spPr>
            <a:xfrm>
              <a:off x="7286625" y="4410075"/>
              <a:ext cx="336550" cy="134938"/>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53" name="Ellipse 95">
              <a:extLst>
                <a:ext uri="{FF2B5EF4-FFF2-40B4-BE49-F238E27FC236}">
                  <a16:creationId xmlns:a16="http://schemas.microsoft.com/office/drawing/2014/main" id="{A99D4BF1-3707-4C4F-8FCC-62F14CFAADD2}"/>
                </a:ext>
              </a:extLst>
            </p:cNvPr>
            <p:cNvSpPr/>
            <p:nvPr/>
          </p:nvSpPr>
          <p:spPr>
            <a:xfrm>
              <a:off x="7037388" y="4525963"/>
              <a:ext cx="334962" cy="136525"/>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54" name="Wolke 96">
              <a:extLst>
                <a:ext uri="{FF2B5EF4-FFF2-40B4-BE49-F238E27FC236}">
                  <a16:creationId xmlns:a16="http://schemas.microsoft.com/office/drawing/2014/main" id="{CE2784B2-0B3D-4144-AE3D-FB35E3A1E341}"/>
                </a:ext>
              </a:extLst>
            </p:cNvPr>
            <p:cNvSpPr/>
            <p:nvPr/>
          </p:nvSpPr>
          <p:spPr>
            <a:xfrm>
              <a:off x="6986588" y="2278063"/>
              <a:ext cx="558800" cy="311150"/>
            </a:xfrm>
            <a:prstGeom prst="cloud">
              <a:avLst/>
            </a:prstGeom>
            <a:gradFill flip="none" rotWithShape="1">
              <a:gsLst>
                <a:gs pos="0">
                  <a:schemeClr val="bg1">
                    <a:lumMod val="52000"/>
                  </a:schemeClr>
                </a:gs>
                <a:gs pos="100000">
                  <a:schemeClr val="bg1">
                    <a:alpha val="60000"/>
                    <a:lumMod val="82000"/>
                    <a:lumOff val="18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55" name="Wolke 97">
              <a:extLst>
                <a:ext uri="{FF2B5EF4-FFF2-40B4-BE49-F238E27FC236}">
                  <a16:creationId xmlns:a16="http://schemas.microsoft.com/office/drawing/2014/main" id="{AC8CA38E-E28B-4021-82B7-D3A6FFA07C8B}"/>
                </a:ext>
              </a:extLst>
            </p:cNvPr>
            <p:cNvSpPr/>
            <p:nvPr/>
          </p:nvSpPr>
          <p:spPr>
            <a:xfrm>
              <a:off x="7648575" y="2297113"/>
              <a:ext cx="558800" cy="311150"/>
            </a:xfrm>
            <a:prstGeom prst="cloud">
              <a:avLst/>
            </a:prstGeom>
            <a:gradFill flip="none" rotWithShape="1">
              <a:gsLst>
                <a:gs pos="0">
                  <a:schemeClr val="bg1">
                    <a:lumMod val="52000"/>
                  </a:schemeClr>
                </a:gs>
                <a:gs pos="100000">
                  <a:schemeClr val="bg1">
                    <a:alpha val="60000"/>
                    <a:lumMod val="82000"/>
                    <a:lumOff val="18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56" name="Wolke 98">
              <a:extLst>
                <a:ext uri="{FF2B5EF4-FFF2-40B4-BE49-F238E27FC236}">
                  <a16:creationId xmlns:a16="http://schemas.microsoft.com/office/drawing/2014/main" id="{CBDE744B-7016-4AF0-A035-90C317B01854}"/>
                </a:ext>
              </a:extLst>
            </p:cNvPr>
            <p:cNvSpPr/>
            <p:nvPr/>
          </p:nvSpPr>
          <p:spPr>
            <a:xfrm>
              <a:off x="8081963" y="2684463"/>
              <a:ext cx="560387" cy="311150"/>
            </a:xfrm>
            <a:prstGeom prst="cloud">
              <a:avLst/>
            </a:prstGeom>
            <a:gradFill flip="none" rotWithShape="1">
              <a:gsLst>
                <a:gs pos="0">
                  <a:schemeClr val="bg1">
                    <a:lumMod val="52000"/>
                  </a:schemeClr>
                </a:gs>
                <a:gs pos="100000">
                  <a:schemeClr val="bg1">
                    <a:alpha val="60000"/>
                    <a:lumMod val="82000"/>
                    <a:lumOff val="18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57" name="Abgerundetes Rechteck 99">
              <a:extLst>
                <a:ext uri="{FF2B5EF4-FFF2-40B4-BE49-F238E27FC236}">
                  <a16:creationId xmlns:a16="http://schemas.microsoft.com/office/drawing/2014/main" id="{FF554B7C-B95C-44FF-A851-CBDC55E4EE24}"/>
                </a:ext>
              </a:extLst>
            </p:cNvPr>
            <p:cNvSpPr/>
            <p:nvPr/>
          </p:nvSpPr>
          <p:spPr>
            <a:xfrm rot="9463393" flipH="1" flipV="1">
              <a:off x="7124276" y="4774393"/>
              <a:ext cx="1271669"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58" name="Abgerundetes Rechteck 100">
              <a:extLst>
                <a:ext uri="{FF2B5EF4-FFF2-40B4-BE49-F238E27FC236}">
                  <a16:creationId xmlns:a16="http://schemas.microsoft.com/office/drawing/2014/main" id="{32102AF6-2906-4FB6-9CFA-5D24192461DE}"/>
                </a:ext>
              </a:extLst>
            </p:cNvPr>
            <p:cNvSpPr/>
            <p:nvPr/>
          </p:nvSpPr>
          <p:spPr>
            <a:xfrm rot="16200000" flipV="1">
              <a:off x="6866866" y="5307611"/>
              <a:ext cx="642114" cy="49728"/>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pic>
          <p:nvPicPr>
            <p:cNvPr id="59" name="PPTShape_12" descr="C:\Users\nikita zacharias.EXPLAIN\Desktop\Coregraphic 3.png">
              <a:extLst>
                <a:ext uri="{FF2B5EF4-FFF2-40B4-BE49-F238E27FC236}">
                  <a16:creationId xmlns:a16="http://schemas.microsoft.com/office/drawing/2014/main" id="{C2375DCB-2FAD-45F1-81EB-0345B78501FB}"/>
                </a:ext>
              </a:extLst>
            </p:cNvPr>
            <p:cNvPicPr>
              <a:picLocks noChangeAspect="1" noChangeArrowheads="1"/>
            </p:cNvPicPr>
            <p:nvPr>
              <p:custDataLst>
                <p:tags r:id="rId13"/>
              </p:custDataLst>
            </p:nvPr>
          </p:nvPicPr>
          <p:blipFill>
            <a:blip r:embed="rId58" cstate="print">
              <a:extLst>
                <a:ext uri="{28A0092B-C50C-407E-A947-70E740481C1C}">
                  <a14:useLocalDpi xmlns:a14="http://schemas.microsoft.com/office/drawing/2010/main"/>
                </a:ext>
              </a:extLst>
            </a:blip>
            <a:srcRect/>
            <a:stretch>
              <a:fillRect/>
            </a:stretch>
          </p:blipFill>
          <p:spPr bwMode="auto">
            <a:xfrm>
              <a:off x="7458304" y="4437063"/>
              <a:ext cx="746125" cy="51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106">
              <a:extLst>
                <a:ext uri="{FF2B5EF4-FFF2-40B4-BE49-F238E27FC236}">
                  <a16:creationId xmlns:a16="http://schemas.microsoft.com/office/drawing/2014/main" id="{390EA3D9-271E-45C1-99B6-08C6A90B4478}"/>
                </a:ext>
              </a:extLst>
            </p:cNvPr>
            <p:cNvPicPr>
              <a:picLocks noChangeAspect="1" noChangeArrowheads="1"/>
            </p:cNvPicPr>
            <p:nvPr>
              <p:custDataLst>
                <p:tags r:id="rId14"/>
              </p:custDataLst>
            </p:nvPr>
          </p:nvPicPr>
          <p:blipFill>
            <a:blip r:embed="rId59" cstate="print">
              <a:extLst>
                <a:ext uri="{28A0092B-C50C-407E-A947-70E740481C1C}">
                  <a14:useLocalDpi xmlns:a14="http://schemas.microsoft.com/office/drawing/2010/main"/>
                </a:ext>
              </a:extLst>
            </a:blip>
            <a:srcRect/>
            <a:stretch>
              <a:fillRect/>
            </a:stretch>
          </p:blipFill>
          <p:spPr bwMode="auto">
            <a:xfrm>
              <a:off x="5030369" y="2245065"/>
              <a:ext cx="312990" cy="423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 name="Picture 105">
              <a:extLst>
                <a:ext uri="{FF2B5EF4-FFF2-40B4-BE49-F238E27FC236}">
                  <a16:creationId xmlns:a16="http://schemas.microsoft.com/office/drawing/2014/main" id="{9EE28422-2FB0-4897-82FC-D09F9431FFB1}"/>
                </a:ext>
              </a:extLst>
            </p:cNvPr>
            <p:cNvPicPr>
              <a:picLocks noChangeAspect="1" noChangeArrowheads="1"/>
            </p:cNvPicPr>
            <p:nvPr>
              <p:custDataLst>
                <p:tags r:id="rId15"/>
              </p:custDataLst>
            </p:nvPr>
          </p:nvPicPr>
          <p:blipFill>
            <a:blip r:embed="rId60" cstate="print">
              <a:extLst>
                <a:ext uri="{28A0092B-C50C-407E-A947-70E740481C1C}">
                  <a14:useLocalDpi xmlns:a14="http://schemas.microsoft.com/office/drawing/2010/main"/>
                </a:ext>
              </a:extLst>
            </a:blip>
            <a:srcRect/>
            <a:stretch>
              <a:fillRect/>
            </a:stretch>
          </p:blipFill>
          <p:spPr bwMode="auto">
            <a:xfrm flipH="1">
              <a:off x="420273" y="2389992"/>
              <a:ext cx="261162" cy="397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PTShape_21">
              <a:extLst>
                <a:ext uri="{FF2B5EF4-FFF2-40B4-BE49-F238E27FC236}">
                  <a16:creationId xmlns:a16="http://schemas.microsoft.com/office/drawing/2014/main" id="{40DAD9DE-2CF2-4A0C-8856-3569D0A5FCEF}"/>
                </a:ext>
              </a:extLst>
            </p:cNvPr>
            <p:cNvPicPr>
              <a:picLocks noChangeAspect="1" noChangeArrowheads="1"/>
            </p:cNvPicPr>
            <p:nvPr>
              <p:custDataLst>
                <p:tags r:id="rId16"/>
              </p:custDataLst>
            </p:nvPr>
          </p:nvPicPr>
          <p:blipFill>
            <a:blip r:embed="rId60" cstate="print">
              <a:extLst>
                <a:ext uri="{28A0092B-C50C-407E-A947-70E740481C1C}">
                  <a14:useLocalDpi xmlns:a14="http://schemas.microsoft.com/office/drawing/2010/main"/>
                </a:ext>
              </a:extLst>
            </a:blip>
            <a:srcRect/>
            <a:stretch>
              <a:fillRect/>
            </a:stretch>
          </p:blipFill>
          <p:spPr bwMode="auto">
            <a:xfrm>
              <a:off x="889400" y="2199161"/>
              <a:ext cx="261162" cy="397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PTShape_22">
              <a:extLst>
                <a:ext uri="{FF2B5EF4-FFF2-40B4-BE49-F238E27FC236}">
                  <a16:creationId xmlns:a16="http://schemas.microsoft.com/office/drawing/2014/main" id="{EB95F07F-F09B-4D08-B4AB-5C1C194B623B}"/>
                </a:ext>
              </a:extLst>
            </p:cNvPr>
            <p:cNvPicPr>
              <a:picLocks noChangeAspect="1" noChangeArrowheads="1"/>
            </p:cNvPicPr>
            <p:nvPr>
              <p:custDataLst>
                <p:tags r:id="rId17"/>
              </p:custDataLst>
            </p:nvPr>
          </p:nvPicPr>
          <p:blipFill>
            <a:blip r:embed="rId60" cstate="print">
              <a:extLst>
                <a:ext uri="{28A0092B-C50C-407E-A947-70E740481C1C}">
                  <a14:useLocalDpi xmlns:a14="http://schemas.microsoft.com/office/drawing/2010/main"/>
                </a:ext>
              </a:extLst>
            </a:blip>
            <a:srcRect/>
            <a:stretch>
              <a:fillRect/>
            </a:stretch>
          </p:blipFill>
          <p:spPr bwMode="auto">
            <a:xfrm flipH="1">
              <a:off x="579299" y="1793645"/>
              <a:ext cx="261162" cy="397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PTShape_23">
              <a:extLst>
                <a:ext uri="{FF2B5EF4-FFF2-40B4-BE49-F238E27FC236}">
                  <a16:creationId xmlns:a16="http://schemas.microsoft.com/office/drawing/2014/main" id="{78B30DA6-9933-4CDC-A292-9133E78546F5}"/>
                </a:ext>
              </a:extLst>
            </p:cNvPr>
            <p:cNvPicPr>
              <a:picLocks noChangeAspect="1" noChangeArrowheads="1"/>
            </p:cNvPicPr>
            <p:nvPr>
              <p:custDataLst>
                <p:tags r:id="rId18"/>
              </p:custDataLst>
            </p:nvPr>
          </p:nvPicPr>
          <p:blipFill>
            <a:blip r:embed="rId60" cstate="print">
              <a:extLst>
                <a:ext uri="{28A0092B-C50C-407E-A947-70E740481C1C}">
                  <a14:useLocalDpi xmlns:a14="http://schemas.microsoft.com/office/drawing/2010/main"/>
                </a:ext>
              </a:extLst>
            </a:blip>
            <a:srcRect/>
            <a:stretch>
              <a:fillRect/>
            </a:stretch>
          </p:blipFill>
          <p:spPr bwMode="auto">
            <a:xfrm flipH="1">
              <a:off x="1547664" y="1987520"/>
              <a:ext cx="261162" cy="397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PTShape_24">
              <a:extLst>
                <a:ext uri="{FF2B5EF4-FFF2-40B4-BE49-F238E27FC236}">
                  <a16:creationId xmlns:a16="http://schemas.microsoft.com/office/drawing/2014/main" id="{BF608509-0573-442C-8E2D-1F532332D0C8}"/>
                </a:ext>
              </a:extLst>
            </p:cNvPr>
            <p:cNvPicPr>
              <a:picLocks noChangeAspect="1" noChangeArrowheads="1"/>
            </p:cNvPicPr>
            <p:nvPr>
              <p:custDataLst>
                <p:tags r:id="rId19"/>
              </p:custDataLst>
            </p:nvPr>
          </p:nvPicPr>
          <p:blipFill>
            <a:blip r:embed="rId60" cstate="print">
              <a:extLst>
                <a:ext uri="{28A0092B-C50C-407E-A947-70E740481C1C}">
                  <a14:useLocalDpi xmlns:a14="http://schemas.microsoft.com/office/drawing/2010/main"/>
                </a:ext>
              </a:extLst>
            </a:blip>
            <a:srcRect/>
            <a:stretch>
              <a:fillRect/>
            </a:stretch>
          </p:blipFill>
          <p:spPr bwMode="auto">
            <a:xfrm>
              <a:off x="2161609" y="1968573"/>
              <a:ext cx="261162" cy="397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PTShape_25">
              <a:extLst>
                <a:ext uri="{FF2B5EF4-FFF2-40B4-BE49-F238E27FC236}">
                  <a16:creationId xmlns:a16="http://schemas.microsoft.com/office/drawing/2014/main" id="{B2F85564-A98F-42D3-A0A6-A9DB170433CC}"/>
                </a:ext>
              </a:extLst>
            </p:cNvPr>
            <p:cNvPicPr>
              <a:picLocks noChangeAspect="1" noChangeArrowheads="1"/>
            </p:cNvPicPr>
            <p:nvPr>
              <p:custDataLst>
                <p:tags r:id="rId20"/>
              </p:custDataLst>
            </p:nvPr>
          </p:nvPicPr>
          <p:blipFill>
            <a:blip r:embed="rId60" cstate="print">
              <a:extLst>
                <a:ext uri="{28A0092B-C50C-407E-A947-70E740481C1C}">
                  <a14:useLocalDpi xmlns:a14="http://schemas.microsoft.com/office/drawing/2010/main"/>
                </a:ext>
              </a:extLst>
            </a:blip>
            <a:srcRect/>
            <a:stretch>
              <a:fillRect/>
            </a:stretch>
          </p:blipFill>
          <p:spPr bwMode="auto">
            <a:xfrm flipH="1">
              <a:off x="2694346" y="1801596"/>
              <a:ext cx="261162" cy="397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 name="PPTShape_26">
              <a:extLst>
                <a:ext uri="{FF2B5EF4-FFF2-40B4-BE49-F238E27FC236}">
                  <a16:creationId xmlns:a16="http://schemas.microsoft.com/office/drawing/2014/main" id="{226582B1-EBCF-412F-A12E-7E9F619C8E3A}"/>
                </a:ext>
              </a:extLst>
            </p:cNvPr>
            <p:cNvPicPr>
              <a:picLocks noChangeAspect="1" noChangeArrowheads="1"/>
            </p:cNvPicPr>
            <p:nvPr>
              <p:custDataLst>
                <p:tags r:id="rId21"/>
              </p:custDataLst>
            </p:nvPr>
          </p:nvPicPr>
          <p:blipFill>
            <a:blip r:embed="rId59" cstate="print">
              <a:extLst>
                <a:ext uri="{28A0092B-C50C-407E-A947-70E740481C1C}">
                  <a14:useLocalDpi xmlns:a14="http://schemas.microsoft.com/office/drawing/2010/main"/>
                </a:ext>
              </a:extLst>
            </a:blip>
            <a:srcRect/>
            <a:stretch>
              <a:fillRect/>
            </a:stretch>
          </p:blipFill>
          <p:spPr bwMode="auto">
            <a:xfrm>
              <a:off x="5507448" y="2427945"/>
              <a:ext cx="312990" cy="423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PTShape_27">
              <a:extLst>
                <a:ext uri="{FF2B5EF4-FFF2-40B4-BE49-F238E27FC236}">
                  <a16:creationId xmlns:a16="http://schemas.microsoft.com/office/drawing/2014/main" id="{F0799F8C-F985-4A69-A788-2627340359AA}"/>
                </a:ext>
              </a:extLst>
            </p:cNvPr>
            <p:cNvPicPr>
              <a:picLocks noChangeAspect="1" noChangeArrowheads="1"/>
            </p:cNvPicPr>
            <p:nvPr>
              <p:custDataLst>
                <p:tags r:id="rId22"/>
              </p:custDataLst>
            </p:nvPr>
          </p:nvPicPr>
          <p:blipFill>
            <a:blip r:embed="rId59" cstate="print">
              <a:extLst>
                <a:ext uri="{28A0092B-C50C-407E-A947-70E740481C1C}">
                  <a14:useLocalDpi xmlns:a14="http://schemas.microsoft.com/office/drawing/2010/main"/>
                </a:ext>
              </a:extLst>
            </a:blip>
            <a:srcRect/>
            <a:stretch>
              <a:fillRect/>
            </a:stretch>
          </p:blipFill>
          <p:spPr bwMode="auto">
            <a:xfrm>
              <a:off x="5960672" y="2292773"/>
              <a:ext cx="312990" cy="423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9" name="PPTShape_28">
              <a:extLst>
                <a:ext uri="{FF2B5EF4-FFF2-40B4-BE49-F238E27FC236}">
                  <a16:creationId xmlns:a16="http://schemas.microsoft.com/office/drawing/2014/main" id="{A29E22E9-5CBD-415E-89A8-3196830009E6}"/>
                </a:ext>
              </a:extLst>
            </p:cNvPr>
            <p:cNvPicPr>
              <a:picLocks noChangeAspect="1" noChangeArrowheads="1"/>
            </p:cNvPicPr>
            <p:nvPr>
              <p:custDataLst>
                <p:tags r:id="rId23"/>
              </p:custDataLst>
            </p:nvPr>
          </p:nvPicPr>
          <p:blipFill>
            <a:blip r:embed="rId60" cstate="print">
              <a:extLst>
                <a:ext uri="{28A0092B-C50C-407E-A947-70E740481C1C}">
                  <a14:useLocalDpi xmlns:a14="http://schemas.microsoft.com/office/drawing/2010/main"/>
                </a:ext>
              </a:extLst>
            </a:blip>
            <a:srcRect/>
            <a:stretch>
              <a:fillRect/>
            </a:stretch>
          </p:blipFill>
          <p:spPr bwMode="auto">
            <a:xfrm flipH="1">
              <a:off x="7584398" y="1793644"/>
              <a:ext cx="261162" cy="397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 name="PPTShape_29">
              <a:extLst>
                <a:ext uri="{FF2B5EF4-FFF2-40B4-BE49-F238E27FC236}">
                  <a16:creationId xmlns:a16="http://schemas.microsoft.com/office/drawing/2014/main" id="{CF79ED6B-E213-4B33-A70D-14DF76C7B739}"/>
                </a:ext>
              </a:extLst>
            </p:cNvPr>
            <p:cNvPicPr>
              <a:picLocks noChangeAspect="1" noChangeArrowheads="1"/>
            </p:cNvPicPr>
            <p:nvPr>
              <p:custDataLst>
                <p:tags r:id="rId24"/>
              </p:custDataLst>
            </p:nvPr>
          </p:nvPicPr>
          <p:blipFill>
            <a:blip r:embed="rId60" cstate="print">
              <a:extLst>
                <a:ext uri="{28A0092B-C50C-407E-A947-70E740481C1C}">
                  <a14:useLocalDpi xmlns:a14="http://schemas.microsoft.com/office/drawing/2010/main"/>
                </a:ext>
              </a:extLst>
            </a:blip>
            <a:srcRect/>
            <a:stretch>
              <a:fillRect/>
            </a:stretch>
          </p:blipFill>
          <p:spPr bwMode="auto">
            <a:xfrm>
              <a:off x="8069427" y="1849303"/>
              <a:ext cx="261162" cy="397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 name="PPTShape_30">
              <a:extLst>
                <a:ext uri="{FF2B5EF4-FFF2-40B4-BE49-F238E27FC236}">
                  <a16:creationId xmlns:a16="http://schemas.microsoft.com/office/drawing/2014/main" id="{E8352EDF-E4F4-4A33-8256-38FA8DCB6F74}"/>
                </a:ext>
              </a:extLst>
            </p:cNvPr>
            <p:cNvPicPr>
              <a:picLocks noChangeAspect="1" noChangeArrowheads="1"/>
            </p:cNvPicPr>
            <p:nvPr>
              <p:custDataLst>
                <p:tags r:id="rId25"/>
              </p:custDataLst>
            </p:nvPr>
          </p:nvPicPr>
          <p:blipFill>
            <a:blip r:embed="rId60" cstate="print">
              <a:extLst>
                <a:ext uri="{28A0092B-C50C-407E-A947-70E740481C1C}">
                  <a14:useLocalDpi xmlns:a14="http://schemas.microsoft.com/office/drawing/2010/main"/>
                </a:ext>
              </a:extLst>
            </a:blip>
            <a:srcRect/>
            <a:stretch>
              <a:fillRect/>
            </a:stretch>
          </p:blipFill>
          <p:spPr bwMode="auto">
            <a:xfrm flipH="1">
              <a:off x="8506749" y="1706179"/>
              <a:ext cx="261162" cy="397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 name="Abgerundetes Rechteck 114">
              <a:extLst>
                <a:ext uri="{FF2B5EF4-FFF2-40B4-BE49-F238E27FC236}">
                  <a16:creationId xmlns:a16="http://schemas.microsoft.com/office/drawing/2014/main" id="{3E032312-15DF-4F9E-BBF5-D6FE02A4A433}"/>
                </a:ext>
              </a:extLst>
            </p:cNvPr>
            <p:cNvSpPr/>
            <p:nvPr/>
          </p:nvSpPr>
          <p:spPr>
            <a:xfrm rot="12191652" flipV="1">
              <a:off x="4074184" y="5638841"/>
              <a:ext cx="1692163"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73" name="Abgerundetes Rechteck 115">
              <a:extLst>
                <a:ext uri="{FF2B5EF4-FFF2-40B4-BE49-F238E27FC236}">
                  <a16:creationId xmlns:a16="http://schemas.microsoft.com/office/drawing/2014/main" id="{22C50B70-4C3C-44E2-8785-27582F7CC6BD}"/>
                </a:ext>
              </a:extLst>
            </p:cNvPr>
            <p:cNvSpPr/>
            <p:nvPr/>
          </p:nvSpPr>
          <p:spPr>
            <a:xfrm rot="12191652" flipV="1">
              <a:off x="3580277" y="5215063"/>
              <a:ext cx="1800000"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74" name="Abgerundetes Rechteck 116">
              <a:extLst>
                <a:ext uri="{FF2B5EF4-FFF2-40B4-BE49-F238E27FC236}">
                  <a16:creationId xmlns:a16="http://schemas.microsoft.com/office/drawing/2014/main" id="{8AF3E4BA-6F3E-4B11-A139-4126979B2462}"/>
                </a:ext>
              </a:extLst>
            </p:cNvPr>
            <p:cNvSpPr/>
            <p:nvPr/>
          </p:nvSpPr>
          <p:spPr>
            <a:xfrm rot="12191652" flipV="1">
              <a:off x="457811" y="3995652"/>
              <a:ext cx="1254568"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75" name="Abgerundetes Rechteck 117">
              <a:extLst>
                <a:ext uri="{FF2B5EF4-FFF2-40B4-BE49-F238E27FC236}">
                  <a16:creationId xmlns:a16="http://schemas.microsoft.com/office/drawing/2014/main" id="{A0811C46-4E98-4564-B0E9-6700D78512D8}"/>
                </a:ext>
              </a:extLst>
            </p:cNvPr>
            <p:cNvSpPr/>
            <p:nvPr/>
          </p:nvSpPr>
          <p:spPr>
            <a:xfrm rot="12191652" flipV="1">
              <a:off x="2079384" y="4639628"/>
              <a:ext cx="1022365"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76" name="Abgerundetes Rechteck 118">
              <a:extLst>
                <a:ext uri="{FF2B5EF4-FFF2-40B4-BE49-F238E27FC236}">
                  <a16:creationId xmlns:a16="http://schemas.microsoft.com/office/drawing/2014/main" id="{2FEB3EDA-ED47-4CA3-879E-B88633398FCA}"/>
                </a:ext>
              </a:extLst>
            </p:cNvPr>
            <p:cNvSpPr/>
            <p:nvPr/>
          </p:nvSpPr>
          <p:spPr>
            <a:xfrm rot="12191652" flipV="1">
              <a:off x="1611369" y="4355769"/>
              <a:ext cx="617843"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pic>
          <p:nvPicPr>
            <p:cNvPr id="77" name="PPTShape_10" descr="C:\Users\nikita zacharias.EXPLAIN\Desktop\Coregraphic 3.png">
              <a:extLst>
                <a:ext uri="{FF2B5EF4-FFF2-40B4-BE49-F238E27FC236}">
                  <a16:creationId xmlns:a16="http://schemas.microsoft.com/office/drawing/2014/main" id="{BBF1AAA7-359B-4882-BB0A-1B4E699BA014}"/>
                </a:ext>
              </a:extLst>
            </p:cNvPr>
            <p:cNvPicPr>
              <a:picLocks noChangeAspect="1" noChangeArrowheads="1"/>
            </p:cNvPicPr>
            <p:nvPr>
              <p:custDataLst>
                <p:tags r:id="rId26"/>
              </p:custDataLst>
            </p:nvPr>
          </p:nvPicPr>
          <p:blipFill>
            <a:blip r:embed="rId61" cstate="print">
              <a:extLst>
                <a:ext uri="{28A0092B-C50C-407E-A947-70E740481C1C}">
                  <a14:useLocalDpi xmlns:a14="http://schemas.microsoft.com/office/drawing/2010/main"/>
                </a:ext>
              </a:extLst>
            </a:blip>
            <a:srcRect/>
            <a:stretch>
              <a:fillRect/>
            </a:stretch>
          </p:blipFill>
          <p:spPr bwMode="auto">
            <a:xfrm>
              <a:off x="1406525" y="4068763"/>
              <a:ext cx="487363"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PTShape_16" descr="C:\Users\nikita zacharias.EXPLAIN\Desktop\Coregraphic 3.png">
              <a:extLst>
                <a:ext uri="{FF2B5EF4-FFF2-40B4-BE49-F238E27FC236}">
                  <a16:creationId xmlns:a16="http://schemas.microsoft.com/office/drawing/2014/main" id="{65A903FF-35C5-4F96-9128-2907CD811A37}"/>
                </a:ext>
              </a:extLst>
            </p:cNvPr>
            <p:cNvPicPr>
              <a:picLocks noChangeAspect="1" noChangeArrowheads="1"/>
            </p:cNvPicPr>
            <p:nvPr>
              <p:custDataLst>
                <p:tags r:id="rId27"/>
              </p:custDataLst>
            </p:nvPr>
          </p:nvPicPr>
          <p:blipFill>
            <a:blip r:embed="rId62" cstate="print">
              <a:extLst>
                <a:ext uri="{28A0092B-C50C-407E-A947-70E740481C1C}">
                  <a14:useLocalDpi xmlns:a14="http://schemas.microsoft.com/office/drawing/2010/main"/>
                </a:ext>
              </a:extLst>
            </a:blip>
            <a:srcRect/>
            <a:stretch>
              <a:fillRect/>
            </a:stretch>
          </p:blipFill>
          <p:spPr bwMode="auto">
            <a:xfrm>
              <a:off x="1876425" y="4210050"/>
              <a:ext cx="773113"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 name="Freihandform 121">
              <a:extLst>
                <a:ext uri="{FF2B5EF4-FFF2-40B4-BE49-F238E27FC236}">
                  <a16:creationId xmlns:a16="http://schemas.microsoft.com/office/drawing/2014/main" id="{5AF72AFB-6B3B-4347-9912-D8E2468457F5}"/>
                </a:ext>
              </a:extLst>
            </p:cNvPr>
            <p:cNvSpPr/>
            <p:nvPr/>
          </p:nvSpPr>
          <p:spPr>
            <a:xfrm>
              <a:off x="2211388" y="4230688"/>
              <a:ext cx="363537" cy="150812"/>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 name="connsiteX0" fmla="*/ 0 w 373062"/>
                <a:gd name="connsiteY0" fmla="*/ 53975 h 234950"/>
                <a:gd name="connsiteX1" fmla="*/ 4762 w 373062"/>
                <a:gd name="connsiteY1" fmla="*/ 0 h 234950"/>
                <a:gd name="connsiteX2" fmla="*/ 373062 w 373062"/>
                <a:gd name="connsiteY2" fmla="*/ 152400 h 234950"/>
                <a:gd name="connsiteX3" fmla="*/ 176212 w 373062"/>
                <a:gd name="connsiteY3" fmla="*/ 234950 h 234950"/>
                <a:gd name="connsiteX4" fmla="*/ 0 w 373062"/>
                <a:gd name="connsiteY4" fmla="*/ 53975 h 234950"/>
                <a:gd name="connsiteX0" fmla="*/ 0 w 373062"/>
                <a:gd name="connsiteY0" fmla="*/ 30162 h 211137"/>
                <a:gd name="connsiteX1" fmla="*/ 61912 w 373062"/>
                <a:gd name="connsiteY1" fmla="*/ 0 h 211137"/>
                <a:gd name="connsiteX2" fmla="*/ 373062 w 373062"/>
                <a:gd name="connsiteY2" fmla="*/ 128587 h 211137"/>
                <a:gd name="connsiteX3" fmla="*/ 176212 w 373062"/>
                <a:gd name="connsiteY3" fmla="*/ 211137 h 211137"/>
                <a:gd name="connsiteX4" fmla="*/ 0 w 373062"/>
                <a:gd name="connsiteY4" fmla="*/ 30162 h 211137"/>
                <a:gd name="connsiteX0" fmla="*/ 0 w 373062"/>
                <a:gd name="connsiteY0" fmla="*/ 30162 h 151605"/>
                <a:gd name="connsiteX1" fmla="*/ 61912 w 373062"/>
                <a:gd name="connsiteY1" fmla="*/ 0 h 151605"/>
                <a:gd name="connsiteX2" fmla="*/ 373062 w 373062"/>
                <a:gd name="connsiteY2" fmla="*/ 128587 h 151605"/>
                <a:gd name="connsiteX3" fmla="*/ 309562 w 373062"/>
                <a:gd name="connsiteY3" fmla="*/ 151605 h 151605"/>
                <a:gd name="connsiteX4" fmla="*/ 0 w 373062"/>
                <a:gd name="connsiteY4" fmla="*/ 30162 h 151605"/>
                <a:gd name="connsiteX0" fmla="*/ 0 w 361156"/>
                <a:gd name="connsiteY0" fmla="*/ 30162 h 151605"/>
                <a:gd name="connsiteX1" fmla="*/ 50006 w 361156"/>
                <a:gd name="connsiteY1" fmla="*/ 0 h 151605"/>
                <a:gd name="connsiteX2" fmla="*/ 361156 w 361156"/>
                <a:gd name="connsiteY2" fmla="*/ 128587 h 151605"/>
                <a:gd name="connsiteX3" fmla="*/ 297656 w 361156"/>
                <a:gd name="connsiteY3" fmla="*/ 151605 h 151605"/>
                <a:gd name="connsiteX4" fmla="*/ 0 w 361156"/>
                <a:gd name="connsiteY4" fmla="*/ 30162 h 151605"/>
                <a:gd name="connsiteX0" fmla="*/ 0 w 363537"/>
                <a:gd name="connsiteY0" fmla="*/ 25400 h 151605"/>
                <a:gd name="connsiteX1" fmla="*/ 52387 w 363537"/>
                <a:gd name="connsiteY1" fmla="*/ 0 h 151605"/>
                <a:gd name="connsiteX2" fmla="*/ 363537 w 363537"/>
                <a:gd name="connsiteY2" fmla="*/ 128587 h 151605"/>
                <a:gd name="connsiteX3" fmla="*/ 300037 w 363537"/>
                <a:gd name="connsiteY3" fmla="*/ 151605 h 151605"/>
                <a:gd name="connsiteX4" fmla="*/ 0 w 363537"/>
                <a:gd name="connsiteY4" fmla="*/ 25400 h 151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537" h="151605">
                  <a:moveTo>
                    <a:pt x="0" y="25400"/>
                  </a:moveTo>
                  <a:lnTo>
                    <a:pt x="52387" y="0"/>
                  </a:lnTo>
                  <a:lnTo>
                    <a:pt x="363537" y="128587"/>
                  </a:lnTo>
                  <a:lnTo>
                    <a:pt x="300037" y="151605"/>
                  </a:lnTo>
                  <a:lnTo>
                    <a:pt x="0" y="25400"/>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80" name="Freihandform 122">
              <a:extLst>
                <a:ext uri="{FF2B5EF4-FFF2-40B4-BE49-F238E27FC236}">
                  <a16:creationId xmlns:a16="http://schemas.microsoft.com/office/drawing/2014/main" id="{9643AA4A-F7AF-43F3-82BC-84AFFF97A3FE}"/>
                </a:ext>
              </a:extLst>
            </p:cNvPr>
            <p:cNvSpPr/>
            <p:nvPr/>
          </p:nvSpPr>
          <p:spPr>
            <a:xfrm>
              <a:off x="2127250" y="4264025"/>
              <a:ext cx="371475" cy="158750"/>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 name="connsiteX0" fmla="*/ 0 w 373062"/>
                <a:gd name="connsiteY0" fmla="*/ 53975 h 234950"/>
                <a:gd name="connsiteX1" fmla="*/ 4762 w 373062"/>
                <a:gd name="connsiteY1" fmla="*/ 0 h 234950"/>
                <a:gd name="connsiteX2" fmla="*/ 373062 w 373062"/>
                <a:gd name="connsiteY2" fmla="*/ 152400 h 234950"/>
                <a:gd name="connsiteX3" fmla="*/ 176212 w 373062"/>
                <a:gd name="connsiteY3" fmla="*/ 234950 h 234950"/>
                <a:gd name="connsiteX4" fmla="*/ 0 w 373062"/>
                <a:gd name="connsiteY4" fmla="*/ 53975 h 234950"/>
                <a:gd name="connsiteX0" fmla="*/ 0 w 373062"/>
                <a:gd name="connsiteY0" fmla="*/ 30162 h 211137"/>
                <a:gd name="connsiteX1" fmla="*/ 61912 w 373062"/>
                <a:gd name="connsiteY1" fmla="*/ 0 h 211137"/>
                <a:gd name="connsiteX2" fmla="*/ 373062 w 373062"/>
                <a:gd name="connsiteY2" fmla="*/ 128587 h 211137"/>
                <a:gd name="connsiteX3" fmla="*/ 176212 w 373062"/>
                <a:gd name="connsiteY3" fmla="*/ 211137 h 211137"/>
                <a:gd name="connsiteX4" fmla="*/ 0 w 373062"/>
                <a:gd name="connsiteY4" fmla="*/ 30162 h 211137"/>
                <a:gd name="connsiteX0" fmla="*/ 0 w 373062"/>
                <a:gd name="connsiteY0" fmla="*/ 30162 h 151605"/>
                <a:gd name="connsiteX1" fmla="*/ 61912 w 373062"/>
                <a:gd name="connsiteY1" fmla="*/ 0 h 151605"/>
                <a:gd name="connsiteX2" fmla="*/ 373062 w 373062"/>
                <a:gd name="connsiteY2" fmla="*/ 128587 h 151605"/>
                <a:gd name="connsiteX3" fmla="*/ 309562 w 373062"/>
                <a:gd name="connsiteY3" fmla="*/ 151605 h 151605"/>
                <a:gd name="connsiteX4" fmla="*/ 0 w 373062"/>
                <a:gd name="connsiteY4" fmla="*/ 30162 h 151605"/>
                <a:gd name="connsiteX0" fmla="*/ 0 w 361156"/>
                <a:gd name="connsiteY0" fmla="*/ 30162 h 151605"/>
                <a:gd name="connsiteX1" fmla="*/ 50006 w 361156"/>
                <a:gd name="connsiteY1" fmla="*/ 0 h 151605"/>
                <a:gd name="connsiteX2" fmla="*/ 361156 w 361156"/>
                <a:gd name="connsiteY2" fmla="*/ 128587 h 151605"/>
                <a:gd name="connsiteX3" fmla="*/ 297656 w 361156"/>
                <a:gd name="connsiteY3" fmla="*/ 151605 h 151605"/>
                <a:gd name="connsiteX4" fmla="*/ 0 w 361156"/>
                <a:gd name="connsiteY4" fmla="*/ 30162 h 151605"/>
                <a:gd name="connsiteX0" fmla="*/ 0 w 363537"/>
                <a:gd name="connsiteY0" fmla="*/ 25400 h 151605"/>
                <a:gd name="connsiteX1" fmla="*/ 52387 w 363537"/>
                <a:gd name="connsiteY1" fmla="*/ 0 h 151605"/>
                <a:gd name="connsiteX2" fmla="*/ 363537 w 363537"/>
                <a:gd name="connsiteY2" fmla="*/ 128587 h 151605"/>
                <a:gd name="connsiteX3" fmla="*/ 300037 w 363537"/>
                <a:gd name="connsiteY3" fmla="*/ 151605 h 151605"/>
                <a:gd name="connsiteX4" fmla="*/ 0 w 363537"/>
                <a:gd name="connsiteY4" fmla="*/ 25400 h 151605"/>
                <a:gd name="connsiteX0" fmla="*/ 0 w 363537"/>
                <a:gd name="connsiteY0" fmla="*/ 25400 h 158749"/>
                <a:gd name="connsiteX1" fmla="*/ 52387 w 363537"/>
                <a:gd name="connsiteY1" fmla="*/ 0 h 158749"/>
                <a:gd name="connsiteX2" fmla="*/ 363537 w 363537"/>
                <a:gd name="connsiteY2" fmla="*/ 128587 h 158749"/>
                <a:gd name="connsiteX3" fmla="*/ 297656 w 363537"/>
                <a:gd name="connsiteY3" fmla="*/ 158749 h 158749"/>
                <a:gd name="connsiteX4" fmla="*/ 0 w 363537"/>
                <a:gd name="connsiteY4" fmla="*/ 25400 h 158749"/>
                <a:gd name="connsiteX0" fmla="*/ 0 w 370681"/>
                <a:gd name="connsiteY0" fmla="*/ 32544 h 158749"/>
                <a:gd name="connsiteX1" fmla="*/ 59531 w 370681"/>
                <a:gd name="connsiteY1" fmla="*/ 0 h 158749"/>
                <a:gd name="connsiteX2" fmla="*/ 370681 w 370681"/>
                <a:gd name="connsiteY2" fmla="*/ 128587 h 158749"/>
                <a:gd name="connsiteX3" fmla="*/ 304800 w 370681"/>
                <a:gd name="connsiteY3" fmla="*/ 158749 h 158749"/>
                <a:gd name="connsiteX4" fmla="*/ 0 w 370681"/>
                <a:gd name="connsiteY4" fmla="*/ 32544 h 15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681" h="158749">
                  <a:moveTo>
                    <a:pt x="0" y="32544"/>
                  </a:moveTo>
                  <a:lnTo>
                    <a:pt x="59531" y="0"/>
                  </a:lnTo>
                  <a:lnTo>
                    <a:pt x="370681" y="128587"/>
                  </a:lnTo>
                  <a:lnTo>
                    <a:pt x="304800" y="158749"/>
                  </a:lnTo>
                  <a:lnTo>
                    <a:pt x="0" y="32544"/>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81" name="Freihandform 123">
              <a:extLst>
                <a:ext uri="{FF2B5EF4-FFF2-40B4-BE49-F238E27FC236}">
                  <a16:creationId xmlns:a16="http://schemas.microsoft.com/office/drawing/2014/main" id="{24BD9477-8D85-4E84-B0CC-DA756706F401}"/>
                </a:ext>
              </a:extLst>
            </p:cNvPr>
            <p:cNvSpPr/>
            <p:nvPr/>
          </p:nvSpPr>
          <p:spPr>
            <a:xfrm>
              <a:off x="1941513" y="4332288"/>
              <a:ext cx="387350" cy="161925"/>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 name="connsiteX0" fmla="*/ 0 w 373062"/>
                <a:gd name="connsiteY0" fmla="*/ 53975 h 234950"/>
                <a:gd name="connsiteX1" fmla="*/ 4762 w 373062"/>
                <a:gd name="connsiteY1" fmla="*/ 0 h 234950"/>
                <a:gd name="connsiteX2" fmla="*/ 373062 w 373062"/>
                <a:gd name="connsiteY2" fmla="*/ 152400 h 234950"/>
                <a:gd name="connsiteX3" fmla="*/ 176212 w 373062"/>
                <a:gd name="connsiteY3" fmla="*/ 234950 h 234950"/>
                <a:gd name="connsiteX4" fmla="*/ 0 w 373062"/>
                <a:gd name="connsiteY4" fmla="*/ 53975 h 234950"/>
                <a:gd name="connsiteX0" fmla="*/ 0 w 373062"/>
                <a:gd name="connsiteY0" fmla="*/ 30162 h 211137"/>
                <a:gd name="connsiteX1" fmla="*/ 61912 w 373062"/>
                <a:gd name="connsiteY1" fmla="*/ 0 h 211137"/>
                <a:gd name="connsiteX2" fmla="*/ 373062 w 373062"/>
                <a:gd name="connsiteY2" fmla="*/ 128587 h 211137"/>
                <a:gd name="connsiteX3" fmla="*/ 176212 w 373062"/>
                <a:gd name="connsiteY3" fmla="*/ 211137 h 211137"/>
                <a:gd name="connsiteX4" fmla="*/ 0 w 373062"/>
                <a:gd name="connsiteY4" fmla="*/ 30162 h 211137"/>
                <a:gd name="connsiteX0" fmla="*/ 0 w 373062"/>
                <a:gd name="connsiteY0" fmla="*/ 30162 h 151605"/>
                <a:gd name="connsiteX1" fmla="*/ 61912 w 373062"/>
                <a:gd name="connsiteY1" fmla="*/ 0 h 151605"/>
                <a:gd name="connsiteX2" fmla="*/ 373062 w 373062"/>
                <a:gd name="connsiteY2" fmla="*/ 128587 h 151605"/>
                <a:gd name="connsiteX3" fmla="*/ 309562 w 373062"/>
                <a:gd name="connsiteY3" fmla="*/ 151605 h 151605"/>
                <a:gd name="connsiteX4" fmla="*/ 0 w 373062"/>
                <a:gd name="connsiteY4" fmla="*/ 30162 h 151605"/>
                <a:gd name="connsiteX0" fmla="*/ 0 w 361156"/>
                <a:gd name="connsiteY0" fmla="*/ 30162 h 151605"/>
                <a:gd name="connsiteX1" fmla="*/ 50006 w 361156"/>
                <a:gd name="connsiteY1" fmla="*/ 0 h 151605"/>
                <a:gd name="connsiteX2" fmla="*/ 361156 w 361156"/>
                <a:gd name="connsiteY2" fmla="*/ 128587 h 151605"/>
                <a:gd name="connsiteX3" fmla="*/ 297656 w 361156"/>
                <a:gd name="connsiteY3" fmla="*/ 151605 h 151605"/>
                <a:gd name="connsiteX4" fmla="*/ 0 w 361156"/>
                <a:gd name="connsiteY4" fmla="*/ 30162 h 151605"/>
                <a:gd name="connsiteX0" fmla="*/ 0 w 363537"/>
                <a:gd name="connsiteY0" fmla="*/ 25400 h 151605"/>
                <a:gd name="connsiteX1" fmla="*/ 52387 w 363537"/>
                <a:gd name="connsiteY1" fmla="*/ 0 h 151605"/>
                <a:gd name="connsiteX2" fmla="*/ 363537 w 363537"/>
                <a:gd name="connsiteY2" fmla="*/ 128587 h 151605"/>
                <a:gd name="connsiteX3" fmla="*/ 300037 w 363537"/>
                <a:gd name="connsiteY3" fmla="*/ 151605 h 151605"/>
                <a:gd name="connsiteX4" fmla="*/ 0 w 363537"/>
                <a:gd name="connsiteY4" fmla="*/ 25400 h 151605"/>
                <a:gd name="connsiteX0" fmla="*/ 0 w 363537"/>
                <a:gd name="connsiteY0" fmla="*/ 37306 h 163511"/>
                <a:gd name="connsiteX1" fmla="*/ 71437 w 363537"/>
                <a:gd name="connsiteY1" fmla="*/ 0 h 163511"/>
                <a:gd name="connsiteX2" fmla="*/ 363537 w 363537"/>
                <a:gd name="connsiteY2" fmla="*/ 140493 h 163511"/>
                <a:gd name="connsiteX3" fmla="*/ 300037 w 363537"/>
                <a:gd name="connsiteY3" fmla="*/ 163511 h 163511"/>
                <a:gd name="connsiteX4" fmla="*/ 0 w 363537"/>
                <a:gd name="connsiteY4" fmla="*/ 37306 h 163511"/>
                <a:gd name="connsiteX0" fmla="*/ 0 w 384969"/>
                <a:gd name="connsiteY0" fmla="*/ 37306 h 163511"/>
                <a:gd name="connsiteX1" fmla="*/ 71437 w 384969"/>
                <a:gd name="connsiteY1" fmla="*/ 0 h 163511"/>
                <a:gd name="connsiteX2" fmla="*/ 384969 w 384969"/>
                <a:gd name="connsiteY2" fmla="*/ 126206 h 163511"/>
                <a:gd name="connsiteX3" fmla="*/ 300037 w 384969"/>
                <a:gd name="connsiteY3" fmla="*/ 163511 h 163511"/>
                <a:gd name="connsiteX4" fmla="*/ 0 w 384969"/>
                <a:gd name="connsiteY4" fmla="*/ 37306 h 163511"/>
                <a:gd name="connsiteX0" fmla="*/ 0 w 384969"/>
                <a:gd name="connsiteY0" fmla="*/ 37306 h 161130"/>
                <a:gd name="connsiteX1" fmla="*/ 71437 w 384969"/>
                <a:gd name="connsiteY1" fmla="*/ 0 h 161130"/>
                <a:gd name="connsiteX2" fmla="*/ 384969 w 384969"/>
                <a:gd name="connsiteY2" fmla="*/ 126206 h 161130"/>
                <a:gd name="connsiteX3" fmla="*/ 309562 w 384969"/>
                <a:gd name="connsiteY3" fmla="*/ 161130 h 161130"/>
                <a:gd name="connsiteX4" fmla="*/ 0 w 384969"/>
                <a:gd name="connsiteY4" fmla="*/ 37306 h 161130"/>
                <a:gd name="connsiteX0" fmla="*/ 0 w 387350"/>
                <a:gd name="connsiteY0" fmla="*/ 32543 h 161130"/>
                <a:gd name="connsiteX1" fmla="*/ 73818 w 387350"/>
                <a:gd name="connsiteY1" fmla="*/ 0 h 161130"/>
                <a:gd name="connsiteX2" fmla="*/ 387350 w 387350"/>
                <a:gd name="connsiteY2" fmla="*/ 126206 h 161130"/>
                <a:gd name="connsiteX3" fmla="*/ 311943 w 387350"/>
                <a:gd name="connsiteY3" fmla="*/ 161130 h 161130"/>
                <a:gd name="connsiteX4" fmla="*/ 0 w 387350"/>
                <a:gd name="connsiteY4" fmla="*/ 32543 h 161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350" h="161130">
                  <a:moveTo>
                    <a:pt x="0" y="32543"/>
                  </a:moveTo>
                  <a:lnTo>
                    <a:pt x="73818" y="0"/>
                  </a:lnTo>
                  <a:lnTo>
                    <a:pt x="387350" y="126206"/>
                  </a:lnTo>
                  <a:lnTo>
                    <a:pt x="311943" y="161130"/>
                  </a:lnTo>
                  <a:lnTo>
                    <a:pt x="0" y="32543"/>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82" name="Freihandform 124">
              <a:extLst>
                <a:ext uri="{FF2B5EF4-FFF2-40B4-BE49-F238E27FC236}">
                  <a16:creationId xmlns:a16="http://schemas.microsoft.com/office/drawing/2014/main" id="{8F0F93F6-0F1B-43A8-B36B-A350FF862498}"/>
                </a:ext>
              </a:extLst>
            </p:cNvPr>
            <p:cNvSpPr/>
            <p:nvPr/>
          </p:nvSpPr>
          <p:spPr>
            <a:xfrm>
              <a:off x="2039938" y="4302125"/>
              <a:ext cx="374650" cy="150813"/>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 name="connsiteX0" fmla="*/ 0 w 373062"/>
                <a:gd name="connsiteY0" fmla="*/ 53975 h 234950"/>
                <a:gd name="connsiteX1" fmla="*/ 4762 w 373062"/>
                <a:gd name="connsiteY1" fmla="*/ 0 h 234950"/>
                <a:gd name="connsiteX2" fmla="*/ 373062 w 373062"/>
                <a:gd name="connsiteY2" fmla="*/ 152400 h 234950"/>
                <a:gd name="connsiteX3" fmla="*/ 176212 w 373062"/>
                <a:gd name="connsiteY3" fmla="*/ 234950 h 234950"/>
                <a:gd name="connsiteX4" fmla="*/ 0 w 373062"/>
                <a:gd name="connsiteY4" fmla="*/ 53975 h 234950"/>
                <a:gd name="connsiteX0" fmla="*/ 0 w 373062"/>
                <a:gd name="connsiteY0" fmla="*/ 30162 h 211137"/>
                <a:gd name="connsiteX1" fmla="*/ 61912 w 373062"/>
                <a:gd name="connsiteY1" fmla="*/ 0 h 211137"/>
                <a:gd name="connsiteX2" fmla="*/ 373062 w 373062"/>
                <a:gd name="connsiteY2" fmla="*/ 128587 h 211137"/>
                <a:gd name="connsiteX3" fmla="*/ 176212 w 373062"/>
                <a:gd name="connsiteY3" fmla="*/ 211137 h 211137"/>
                <a:gd name="connsiteX4" fmla="*/ 0 w 373062"/>
                <a:gd name="connsiteY4" fmla="*/ 30162 h 211137"/>
                <a:gd name="connsiteX0" fmla="*/ 0 w 373062"/>
                <a:gd name="connsiteY0" fmla="*/ 30162 h 151605"/>
                <a:gd name="connsiteX1" fmla="*/ 61912 w 373062"/>
                <a:gd name="connsiteY1" fmla="*/ 0 h 151605"/>
                <a:gd name="connsiteX2" fmla="*/ 373062 w 373062"/>
                <a:gd name="connsiteY2" fmla="*/ 128587 h 151605"/>
                <a:gd name="connsiteX3" fmla="*/ 309562 w 373062"/>
                <a:gd name="connsiteY3" fmla="*/ 151605 h 151605"/>
                <a:gd name="connsiteX4" fmla="*/ 0 w 373062"/>
                <a:gd name="connsiteY4" fmla="*/ 30162 h 151605"/>
                <a:gd name="connsiteX0" fmla="*/ 0 w 361156"/>
                <a:gd name="connsiteY0" fmla="*/ 30162 h 151605"/>
                <a:gd name="connsiteX1" fmla="*/ 50006 w 361156"/>
                <a:gd name="connsiteY1" fmla="*/ 0 h 151605"/>
                <a:gd name="connsiteX2" fmla="*/ 361156 w 361156"/>
                <a:gd name="connsiteY2" fmla="*/ 128587 h 151605"/>
                <a:gd name="connsiteX3" fmla="*/ 297656 w 361156"/>
                <a:gd name="connsiteY3" fmla="*/ 151605 h 151605"/>
                <a:gd name="connsiteX4" fmla="*/ 0 w 361156"/>
                <a:gd name="connsiteY4" fmla="*/ 30162 h 151605"/>
                <a:gd name="connsiteX0" fmla="*/ 0 w 363537"/>
                <a:gd name="connsiteY0" fmla="*/ 25400 h 151605"/>
                <a:gd name="connsiteX1" fmla="*/ 52387 w 363537"/>
                <a:gd name="connsiteY1" fmla="*/ 0 h 151605"/>
                <a:gd name="connsiteX2" fmla="*/ 363537 w 363537"/>
                <a:gd name="connsiteY2" fmla="*/ 128587 h 151605"/>
                <a:gd name="connsiteX3" fmla="*/ 300037 w 363537"/>
                <a:gd name="connsiteY3" fmla="*/ 151605 h 151605"/>
                <a:gd name="connsiteX4" fmla="*/ 0 w 363537"/>
                <a:gd name="connsiteY4" fmla="*/ 25400 h 151605"/>
                <a:gd name="connsiteX0" fmla="*/ 0 w 375443"/>
                <a:gd name="connsiteY0" fmla="*/ 25400 h 151605"/>
                <a:gd name="connsiteX1" fmla="*/ 52387 w 375443"/>
                <a:gd name="connsiteY1" fmla="*/ 0 h 151605"/>
                <a:gd name="connsiteX2" fmla="*/ 375443 w 375443"/>
                <a:gd name="connsiteY2" fmla="*/ 126206 h 151605"/>
                <a:gd name="connsiteX3" fmla="*/ 300037 w 375443"/>
                <a:gd name="connsiteY3" fmla="*/ 151605 h 151605"/>
                <a:gd name="connsiteX4" fmla="*/ 0 w 375443"/>
                <a:gd name="connsiteY4" fmla="*/ 25400 h 151605"/>
                <a:gd name="connsiteX0" fmla="*/ 0 w 375443"/>
                <a:gd name="connsiteY0" fmla="*/ 25400 h 151605"/>
                <a:gd name="connsiteX1" fmla="*/ 64293 w 375443"/>
                <a:gd name="connsiteY1" fmla="*/ 0 h 151605"/>
                <a:gd name="connsiteX2" fmla="*/ 375443 w 375443"/>
                <a:gd name="connsiteY2" fmla="*/ 126206 h 151605"/>
                <a:gd name="connsiteX3" fmla="*/ 300037 w 375443"/>
                <a:gd name="connsiteY3" fmla="*/ 151605 h 151605"/>
                <a:gd name="connsiteX4" fmla="*/ 0 w 375443"/>
                <a:gd name="connsiteY4" fmla="*/ 25400 h 151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5443" h="151605">
                  <a:moveTo>
                    <a:pt x="0" y="25400"/>
                  </a:moveTo>
                  <a:lnTo>
                    <a:pt x="64293" y="0"/>
                  </a:lnTo>
                  <a:lnTo>
                    <a:pt x="375443" y="126206"/>
                  </a:lnTo>
                  <a:lnTo>
                    <a:pt x="300037" y="151605"/>
                  </a:lnTo>
                  <a:lnTo>
                    <a:pt x="0" y="25400"/>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83" name="Freihandform 125">
              <a:extLst>
                <a:ext uri="{FF2B5EF4-FFF2-40B4-BE49-F238E27FC236}">
                  <a16:creationId xmlns:a16="http://schemas.microsoft.com/office/drawing/2014/main" id="{78B53879-BDB3-4336-B7F3-957C77A98D96}"/>
                </a:ext>
              </a:extLst>
            </p:cNvPr>
            <p:cNvSpPr/>
            <p:nvPr/>
          </p:nvSpPr>
          <p:spPr>
            <a:xfrm>
              <a:off x="1497013" y="4168775"/>
              <a:ext cx="325437" cy="134938"/>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 name="connsiteX0" fmla="*/ 0 w 373062"/>
                <a:gd name="connsiteY0" fmla="*/ 53975 h 234950"/>
                <a:gd name="connsiteX1" fmla="*/ 4762 w 373062"/>
                <a:gd name="connsiteY1" fmla="*/ 0 h 234950"/>
                <a:gd name="connsiteX2" fmla="*/ 373062 w 373062"/>
                <a:gd name="connsiteY2" fmla="*/ 152400 h 234950"/>
                <a:gd name="connsiteX3" fmla="*/ 176212 w 373062"/>
                <a:gd name="connsiteY3" fmla="*/ 234950 h 234950"/>
                <a:gd name="connsiteX4" fmla="*/ 0 w 373062"/>
                <a:gd name="connsiteY4" fmla="*/ 53975 h 234950"/>
                <a:gd name="connsiteX0" fmla="*/ 0 w 373062"/>
                <a:gd name="connsiteY0" fmla="*/ 30162 h 211137"/>
                <a:gd name="connsiteX1" fmla="*/ 61912 w 373062"/>
                <a:gd name="connsiteY1" fmla="*/ 0 h 211137"/>
                <a:gd name="connsiteX2" fmla="*/ 373062 w 373062"/>
                <a:gd name="connsiteY2" fmla="*/ 128587 h 211137"/>
                <a:gd name="connsiteX3" fmla="*/ 176212 w 373062"/>
                <a:gd name="connsiteY3" fmla="*/ 211137 h 211137"/>
                <a:gd name="connsiteX4" fmla="*/ 0 w 373062"/>
                <a:gd name="connsiteY4" fmla="*/ 30162 h 211137"/>
                <a:gd name="connsiteX0" fmla="*/ 0 w 373062"/>
                <a:gd name="connsiteY0" fmla="*/ 30162 h 151605"/>
                <a:gd name="connsiteX1" fmla="*/ 61912 w 373062"/>
                <a:gd name="connsiteY1" fmla="*/ 0 h 151605"/>
                <a:gd name="connsiteX2" fmla="*/ 373062 w 373062"/>
                <a:gd name="connsiteY2" fmla="*/ 128587 h 151605"/>
                <a:gd name="connsiteX3" fmla="*/ 309562 w 373062"/>
                <a:gd name="connsiteY3" fmla="*/ 151605 h 151605"/>
                <a:gd name="connsiteX4" fmla="*/ 0 w 373062"/>
                <a:gd name="connsiteY4" fmla="*/ 30162 h 151605"/>
                <a:gd name="connsiteX0" fmla="*/ 0 w 361156"/>
                <a:gd name="connsiteY0" fmla="*/ 30162 h 151605"/>
                <a:gd name="connsiteX1" fmla="*/ 50006 w 361156"/>
                <a:gd name="connsiteY1" fmla="*/ 0 h 151605"/>
                <a:gd name="connsiteX2" fmla="*/ 361156 w 361156"/>
                <a:gd name="connsiteY2" fmla="*/ 128587 h 151605"/>
                <a:gd name="connsiteX3" fmla="*/ 297656 w 361156"/>
                <a:gd name="connsiteY3" fmla="*/ 151605 h 151605"/>
                <a:gd name="connsiteX4" fmla="*/ 0 w 361156"/>
                <a:gd name="connsiteY4" fmla="*/ 30162 h 151605"/>
                <a:gd name="connsiteX0" fmla="*/ 0 w 363537"/>
                <a:gd name="connsiteY0" fmla="*/ 25400 h 151605"/>
                <a:gd name="connsiteX1" fmla="*/ 52387 w 363537"/>
                <a:gd name="connsiteY1" fmla="*/ 0 h 151605"/>
                <a:gd name="connsiteX2" fmla="*/ 363537 w 363537"/>
                <a:gd name="connsiteY2" fmla="*/ 128587 h 151605"/>
                <a:gd name="connsiteX3" fmla="*/ 300037 w 363537"/>
                <a:gd name="connsiteY3" fmla="*/ 151605 h 151605"/>
                <a:gd name="connsiteX4" fmla="*/ 0 w 363537"/>
                <a:gd name="connsiteY4" fmla="*/ 25400 h 151605"/>
                <a:gd name="connsiteX0" fmla="*/ 0 w 363537"/>
                <a:gd name="connsiteY0" fmla="*/ 37306 h 163511"/>
                <a:gd name="connsiteX1" fmla="*/ 71437 w 363537"/>
                <a:gd name="connsiteY1" fmla="*/ 0 h 163511"/>
                <a:gd name="connsiteX2" fmla="*/ 363537 w 363537"/>
                <a:gd name="connsiteY2" fmla="*/ 140493 h 163511"/>
                <a:gd name="connsiteX3" fmla="*/ 300037 w 363537"/>
                <a:gd name="connsiteY3" fmla="*/ 163511 h 163511"/>
                <a:gd name="connsiteX4" fmla="*/ 0 w 363537"/>
                <a:gd name="connsiteY4" fmla="*/ 37306 h 163511"/>
                <a:gd name="connsiteX0" fmla="*/ 0 w 384969"/>
                <a:gd name="connsiteY0" fmla="*/ 37306 h 163511"/>
                <a:gd name="connsiteX1" fmla="*/ 71437 w 384969"/>
                <a:gd name="connsiteY1" fmla="*/ 0 h 163511"/>
                <a:gd name="connsiteX2" fmla="*/ 384969 w 384969"/>
                <a:gd name="connsiteY2" fmla="*/ 126206 h 163511"/>
                <a:gd name="connsiteX3" fmla="*/ 300037 w 384969"/>
                <a:gd name="connsiteY3" fmla="*/ 163511 h 163511"/>
                <a:gd name="connsiteX4" fmla="*/ 0 w 384969"/>
                <a:gd name="connsiteY4" fmla="*/ 37306 h 163511"/>
                <a:gd name="connsiteX0" fmla="*/ 0 w 384969"/>
                <a:gd name="connsiteY0" fmla="*/ 37306 h 161130"/>
                <a:gd name="connsiteX1" fmla="*/ 71437 w 384969"/>
                <a:gd name="connsiteY1" fmla="*/ 0 h 161130"/>
                <a:gd name="connsiteX2" fmla="*/ 384969 w 384969"/>
                <a:gd name="connsiteY2" fmla="*/ 126206 h 161130"/>
                <a:gd name="connsiteX3" fmla="*/ 309562 w 384969"/>
                <a:gd name="connsiteY3" fmla="*/ 161130 h 161130"/>
                <a:gd name="connsiteX4" fmla="*/ 0 w 384969"/>
                <a:gd name="connsiteY4" fmla="*/ 37306 h 161130"/>
                <a:gd name="connsiteX0" fmla="*/ 0 w 387350"/>
                <a:gd name="connsiteY0" fmla="*/ 32543 h 161130"/>
                <a:gd name="connsiteX1" fmla="*/ 73818 w 387350"/>
                <a:gd name="connsiteY1" fmla="*/ 0 h 161130"/>
                <a:gd name="connsiteX2" fmla="*/ 387350 w 387350"/>
                <a:gd name="connsiteY2" fmla="*/ 126206 h 161130"/>
                <a:gd name="connsiteX3" fmla="*/ 311943 w 387350"/>
                <a:gd name="connsiteY3" fmla="*/ 161130 h 161130"/>
                <a:gd name="connsiteX4" fmla="*/ 0 w 387350"/>
                <a:gd name="connsiteY4" fmla="*/ 32543 h 161130"/>
                <a:gd name="connsiteX0" fmla="*/ 0 w 387350"/>
                <a:gd name="connsiteY0" fmla="*/ 32543 h 134937"/>
                <a:gd name="connsiteX1" fmla="*/ 73818 w 387350"/>
                <a:gd name="connsiteY1" fmla="*/ 0 h 134937"/>
                <a:gd name="connsiteX2" fmla="*/ 387350 w 387350"/>
                <a:gd name="connsiteY2" fmla="*/ 126206 h 134937"/>
                <a:gd name="connsiteX3" fmla="*/ 90487 w 387350"/>
                <a:gd name="connsiteY3" fmla="*/ 134937 h 134937"/>
                <a:gd name="connsiteX4" fmla="*/ 0 w 387350"/>
                <a:gd name="connsiteY4" fmla="*/ 32543 h 134937"/>
                <a:gd name="connsiteX0" fmla="*/ 0 w 249238"/>
                <a:gd name="connsiteY0" fmla="*/ 32543 h 134937"/>
                <a:gd name="connsiteX1" fmla="*/ 73818 w 249238"/>
                <a:gd name="connsiteY1" fmla="*/ 0 h 134937"/>
                <a:gd name="connsiteX2" fmla="*/ 249238 w 249238"/>
                <a:gd name="connsiteY2" fmla="*/ 71438 h 134937"/>
                <a:gd name="connsiteX3" fmla="*/ 90487 w 249238"/>
                <a:gd name="connsiteY3" fmla="*/ 134937 h 134937"/>
                <a:gd name="connsiteX4" fmla="*/ 0 w 249238"/>
                <a:gd name="connsiteY4" fmla="*/ 32543 h 134937"/>
                <a:gd name="connsiteX0" fmla="*/ 0 w 325438"/>
                <a:gd name="connsiteY0" fmla="*/ 63499 h 134937"/>
                <a:gd name="connsiteX1" fmla="*/ 150018 w 325438"/>
                <a:gd name="connsiteY1" fmla="*/ 0 h 134937"/>
                <a:gd name="connsiteX2" fmla="*/ 325438 w 325438"/>
                <a:gd name="connsiteY2" fmla="*/ 71438 h 134937"/>
                <a:gd name="connsiteX3" fmla="*/ 166687 w 325438"/>
                <a:gd name="connsiteY3" fmla="*/ 134937 h 134937"/>
                <a:gd name="connsiteX4" fmla="*/ 0 w 325438"/>
                <a:gd name="connsiteY4" fmla="*/ 63499 h 134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438" h="134937">
                  <a:moveTo>
                    <a:pt x="0" y="63499"/>
                  </a:moveTo>
                  <a:lnTo>
                    <a:pt x="150018" y="0"/>
                  </a:lnTo>
                  <a:lnTo>
                    <a:pt x="325438" y="71438"/>
                  </a:lnTo>
                  <a:lnTo>
                    <a:pt x="166687" y="134937"/>
                  </a:lnTo>
                  <a:lnTo>
                    <a:pt x="0" y="63499"/>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pic>
          <p:nvPicPr>
            <p:cNvPr id="84" name="PPTShape_9" descr="C:\Users\nikita zacharias.EXPLAIN\Desktop\Coregraphic 3.png">
              <a:extLst>
                <a:ext uri="{FF2B5EF4-FFF2-40B4-BE49-F238E27FC236}">
                  <a16:creationId xmlns:a16="http://schemas.microsoft.com/office/drawing/2014/main" id="{7011AEC5-A20D-484A-8FEB-08BFA2E5A2EE}"/>
                </a:ext>
              </a:extLst>
            </p:cNvPr>
            <p:cNvPicPr>
              <a:picLocks noChangeAspect="1" noChangeArrowheads="1"/>
            </p:cNvPicPr>
            <p:nvPr>
              <p:custDataLst>
                <p:tags r:id="rId28"/>
              </p:custDataLst>
            </p:nvPr>
          </p:nvPicPr>
          <p:blipFill>
            <a:blip r:embed="rId63" cstate="print">
              <a:extLst>
                <a:ext uri="{28A0092B-C50C-407E-A947-70E740481C1C}">
                  <a14:useLocalDpi xmlns:a14="http://schemas.microsoft.com/office/drawing/2010/main"/>
                </a:ext>
              </a:extLst>
            </a:blip>
            <a:srcRect/>
            <a:stretch>
              <a:fillRect/>
            </a:stretch>
          </p:blipFill>
          <p:spPr bwMode="auto">
            <a:xfrm>
              <a:off x="2436813" y="4500563"/>
              <a:ext cx="534987"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PTShape_14" descr="C:\Users\nikita zacharias.EXPLAIN\Desktop\Coregraphic 3.png">
              <a:extLst>
                <a:ext uri="{FF2B5EF4-FFF2-40B4-BE49-F238E27FC236}">
                  <a16:creationId xmlns:a16="http://schemas.microsoft.com/office/drawing/2014/main" id="{133AF462-3119-4AFB-A29D-B7B403A0FF7B}"/>
                </a:ext>
              </a:extLst>
            </p:cNvPr>
            <p:cNvPicPr>
              <a:picLocks noChangeAspect="1" noChangeArrowheads="1"/>
            </p:cNvPicPr>
            <p:nvPr>
              <p:custDataLst>
                <p:tags r:id="rId29"/>
              </p:custDataLst>
            </p:nvPr>
          </p:nvPicPr>
          <p:blipFill>
            <a:blip r:embed="rId64" cstate="print">
              <a:extLst>
                <a:ext uri="{28A0092B-C50C-407E-A947-70E740481C1C}">
                  <a14:useLocalDpi xmlns:a14="http://schemas.microsoft.com/office/drawing/2010/main"/>
                </a:ext>
              </a:extLst>
            </a:blip>
            <a:srcRect/>
            <a:stretch>
              <a:fillRect/>
            </a:stretch>
          </p:blipFill>
          <p:spPr bwMode="auto">
            <a:xfrm>
              <a:off x="2155825" y="4624388"/>
              <a:ext cx="534988"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 name="Ellipse 128">
              <a:extLst>
                <a:ext uri="{FF2B5EF4-FFF2-40B4-BE49-F238E27FC236}">
                  <a16:creationId xmlns:a16="http://schemas.microsoft.com/office/drawing/2014/main" id="{61667344-C06F-4A93-A361-8F75482B8081}"/>
                </a:ext>
              </a:extLst>
            </p:cNvPr>
            <p:cNvSpPr/>
            <p:nvPr/>
          </p:nvSpPr>
          <p:spPr>
            <a:xfrm>
              <a:off x="2536825" y="4583113"/>
              <a:ext cx="355600" cy="144462"/>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87" name="Ellipse 129">
              <a:extLst>
                <a:ext uri="{FF2B5EF4-FFF2-40B4-BE49-F238E27FC236}">
                  <a16:creationId xmlns:a16="http://schemas.microsoft.com/office/drawing/2014/main" id="{CB2E30E4-9452-4C00-AF28-767F5A2BF172}"/>
                </a:ext>
              </a:extLst>
            </p:cNvPr>
            <p:cNvSpPr/>
            <p:nvPr/>
          </p:nvSpPr>
          <p:spPr>
            <a:xfrm>
              <a:off x="2260600" y="4703763"/>
              <a:ext cx="355600" cy="144462"/>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pic>
          <p:nvPicPr>
            <p:cNvPr id="88" name="PPTShape_6" descr="C:\Users\nikita zacharias.EXPLAIN\Desktop\Coregraphic 3.png">
              <a:extLst>
                <a:ext uri="{FF2B5EF4-FFF2-40B4-BE49-F238E27FC236}">
                  <a16:creationId xmlns:a16="http://schemas.microsoft.com/office/drawing/2014/main" id="{C50FF24C-10CC-40A3-8562-DB7F109C1B7B}"/>
                </a:ext>
              </a:extLst>
            </p:cNvPr>
            <p:cNvPicPr>
              <a:picLocks noChangeAspect="1" noChangeArrowheads="1"/>
            </p:cNvPicPr>
            <p:nvPr>
              <p:custDataLst>
                <p:tags r:id="rId30"/>
              </p:custDataLst>
            </p:nvPr>
          </p:nvPicPr>
          <p:blipFill>
            <a:blip r:embed="rId65" cstate="print">
              <a:extLst>
                <a:ext uri="{28A0092B-C50C-407E-A947-70E740481C1C}">
                  <a14:useLocalDpi xmlns:a14="http://schemas.microsoft.com/office/drawing/2010/main"/>
                </a:ext>
              </a:extLst>
            </a:blip>
            <a:srcRect/>
            <a:stretch>
              <a:fillRect/>
            </a:stretch>
          </p:blipFill>
          <p:spPr bwMode="auto">
            <a:xfrm>
              <a:off x="658813" y="3792538"/>
              <a:ext cx="82708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PTShape_5" descr="C:\Users\nikita zacharias.EXPLAIN\Desktop\Coregraphic 3.png">
              <a:extLst>
                <a:ext uri="{FF2B5EF4-FFF2-40B4-BE49-F238E27FC236}">
                  <a16:creationId xmlns:a16="http://schemas.microsoft.com/office/drawing/2014/main" id="{94488DC8-BB1F-450D-B128-8782FE391E43}"/>
                </a:ext>
              </a:extLst>
            </p:cNvPr>
            <p:cNvPicPr>
              <a:picLocks noChangeAspect="1" noChangeArrowheads="1"/>
            </p:cNvPicPr>
            <p:nvPr>
              <p:custDataLst>
                <p:tags r:id="rId31"/>
              </p:custDataLst>
            </p:nvPr>
          </p:nvPicPr>
          <p:blipFill>
            <a:blip r:embed="rId66" cstate="print">
              <a:extLst>
                <a:ext uri="{28A0092B-C50C-407E-A947-70E740481C1C}">
                  <a14:useLocalDpi xmlns:a14="http://schemas.microsoft.com/office/drawing/2010/main"/>
                </a:ext>
              </a:extLst>
            </a:blip>
            <a:srcRect/>
            <a:stretch>
              <a:fillRect/>
            </a:stretch>
          </p:blipFill>
          <p:spPr bwMode="auto">
            <a:xfrm>
              <a:off x="319088" y="3502025"/>
              <a:ext cx="487362"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PTShape_17" descr="C:\Users\nikita zacharias.EXPLAIN\Desktop\Coregraphic 3.png">
              <a:extLst>
                <a:ext uri="{FF2B5EF4-FFF2-40B4-BE49-F238E27FC236}">
                  <a16:creationId xmlns:a16="http://schemas.microsoft.com/office/drawing/2014/main" id="{D664DFF6-83E7-4B2C-8E2F-260E4E637E08}"/>
                </a:ext>
              </a:extLst>
            </p:cNvPr>
            <p:cNvPicPr>
              <a:picLocks noChangeAspect="1" noChangeArrowheads="1"/>
            </p:cNvPicPr>
            <p:nvPr>
              <p:custDataLst>
                <p:tags r:id="rId32"/>
              </p:custDataLst>
            </p:nvPr>
          </p:nvPicPr>
          <p:blipFill>
            <a:blip r:embed="rId67" cstate="print">
              <a:extLst>
                <a:ext uri="{28A0092B-C50C-407E-A947-70E740481C1C}">
                  <a14:useLocalDpi xmlns:a14="http://schemas.microsoft.com/office/drawing/2010/main"/>
                </a:ext>
              </a:extLst>
            </a:blip>
            <a:srcRect/>
            <a:stretch>
              <a:fillRect/>
            </a:stretch>
          </p:blipFill>
          <p:spPr bwMode="auto">
            <a:xfrm>
              <a:off x="2887663" y="4594225"/>
              <a:ext cx="846137"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Abgerundetes Rechteck 133">
              <a:extLst>
                <a:ext uri="{FF2B5EF4-FFF2-40B4-BE49-F238E27FC236}">
                  <a16:creationId xmlns:a16="http://schemas.microsoft.com/office/drawing/2014/main" id="{159FB30C-50AF-41CF-BFD7-3D794749D301}"/>
                </a:ext>
              </a:extLst>
            </p:cNvPr>
            <p:cNvSpPr/>
            <p:nvPr/>
          </p:nvSpPr>
          <p:spPr>
            <a:xfrm rot="12191652" flipV="1">
              <a:off x="2538855" y="5713993"/>
              <a:ext cx="1775026"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pic>
          <p:nvPicPr>
            <p:cNvPr id="92" name="PPTShape_13" descr="C:\Users\nikita zacharias.EXPLAIN\Desktop\Coregraphic 3.png">
              <a:extLst>
                <a:ext uri="{FF2B5EF4-FFF2-40B4-BE49-F238E27FC236}">
                  <a16:creationId xmlns:a16="http://schemas.microsoft.com/office/drawing/2014/main" id="{A29E6BDA-0965-447C-B175-F36A76EDBEDD}"/>
                </a:ext>
              </a:extLst>
            </p:cNvPr>
            <p:cNvPicPr>
              <a:picLocks noChangeAspect="1" noChangeArrowheads="1"/>
            </p:cNvPicPr>
            <p:nvPr>
              <p:custDataLst>
                <p:tags r:id="rId33"/>
              </p:custDataLst>
            </p:nvPr>
          </p:nvPicPr>
          <p:blipFill>
            <a:blip r:embed="rId64" cstate="print">
              <a:extLst>
                <a:ext uri="{28A0092B-C50C-407E-A947-70E740481C1C}">
                  <a14:useLocalDpi xmlns:a14="http://schemas.microsoft.com/office/drawing/2010/main"/>
                </a:ext>
              </a:extLst>
            </a:blip>
            <a:srcRect/>
            <a:stretch>
              <a:fillRect/>
            </a:stretch>
          </p:blipFill>
          <p:spPr bwMode="auto">
            <a:xfrm>
              <a:off x="2381250" y="5213350"/>
              <a:ext cx="534988"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Ellipse 135">
              <a:extLst>
                <a:ext uri="{FF2B5EF4-FFF2-40B4-BE49-F238E27FC236}">
                  <a16:creationId xmlns:a16="http://schemas.microsoft.com/office/drawing/2014/main" id="{C0FF3EA5-5265-4062-95C2-D9C960B29F8F}"/>
                </a:ext>
              </a:extLst>
            </p:cNvPr>
            <p:cNvSpPr/>
            <p:nvPr/>
          </p:nvSpPr>
          <p:spPr>
            <a:xfrm>
              <a:off x="2492375" y="5291138"/>
              <a:ext cx="355600" cy="144462"/>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pic>
          <p:nvPicPr>
            <p:cNvPr id="94" name="PPTShape_11" descr="C:\Users\nikita zacharias.EXPLAIN\Desktop\Coregraphic 3.png">
              <a:extLst>
                <a:ext uri="{FF2B5EF4-FFF2-40B4-BE49-F238E27FC236}">
                  <a16:creationId xmlns:a16="http://schemas.microsoft.com/office/drawing/2014/main" id="{7FC6CACD-E43B-4F3B-9F20-7F58EDC2C19C}"/>
                </a:ext>
              </a:extLst>
            </p:cNvPr>
            <p:cNvPicPr>
              <a:picLocks noChangeAspect="1" noChangeArrowheads="1"/>
            </p:cNvPicPr>
            <p:nvPr>
              <p:custDataLst>
                <p:tags r:id="rId34"/>
              </p:custDataLst>
            </p:nvPr>
          </p:nvPicPr>
          <p:blipFill>
            <a:blip r:embed="rId64" cstate="print">
              <a:extLst>
                <a:ext uri="{28A0092B-C50C-407E-A947-70E740481C1C}">
                  <a14:useLocalDpi xmlns:a14="http://schemas.microsoft.com/office/drawing/2010/main"/>
                </a:ext>
              </a:extLst>
            </a:blip>
            <a:srcRect/>
            <a:stretch>
              <a:fillRect/>
            </a:stretch>
          </p:blipFill>
          <p:spPr bwMode="auto">
            <a:xfrm>
              <a:off x="3817938" y="5121275"/>
              <a:ext cx="5349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 name="Ellipse 137">
              <a:extLst>
                <a:ext uri="{FF2B5EF4-FFF2-40B4-BE49-F238E27FC236}">
                  <a16:creationId xmlns:a16="http://schemas.microsoft.com/office/drawing/2014/main" id="{D40E9058-AED2-47C6-A240-98A650A13DA9}"/>
                </a:ext>
              </a:extLst>
            </p:cNvPr>
            <p:cNvSpPr/>
            <p:nvPr/>
          </p:nvSpPr>
          <p:spPr>
            <a:xfrm>
              <a:off x="3917950" y="5199063"/>
              <a:ext cx="355600" cy="144462"/>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pic>
          <p:nvPicPr>
            <p:cNvPr id="96" name="PPTShape_18" descr="C:\Users\nikita zacharias.EXPLAIN\Desktop\Coregraphic 3.png">
              <a:extLst>
                <a:ext uri="{FF2B5EF4-FFF2-40B4-BE49-F238E27FC236}">
                  <a16:creationId xmlns:a16="http://schemas.microsoft.com/office/drawing/2014/main" id="{8FF84AF8-A055-4504-B146-E747F92E14BB}"/>
                </a:ext>
              </a:extLst>
            </p:cNvPr>
            <p:cNvPicPr>
              <a:picLocks noChangeAspect="1" noChangeArrowheads="1"/>
            </p:cNvPicPr>
            <p:nvPr>
              <p:custDataLst>
                <p:tags r:id="rId35"/>
              </p:custDataLst>
            </p:nvPr>
          </p:nvPicPr>
          <p:blipFill>
            <a:blip r:embed="rId68" cstate="print">
              <a:extLst>
                <a:ext uri="{28A0092B-C50C-407E-A947-70E740481C1C}">
                  <a14:useLocalDpi xmlns:a14="http://schemas.microsoft.com/office/drawing/2010/main"/>
                </a:ext>
              </a:extLst>
            </a:blip>
            <a:srcRect/>
            <a:stretch>
              <a:fillRect/>
            </a:stretch>
          </p:blipFill>
          <p:spPr bwMode="auto">
            <a:xfrm>
              <a:off x="4422775" y="4872038"/>
              <a:ext cx="1312863" cy="116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 name="Abgerundetes Rechteck 262">
              <a:extLst>
                <a:ext uri="{FF2B5EF4-FFF2-40B4-BE49-F238E27FC236}">
                  <a16:creationId xmlns:a16="http://schemas.microsoft.com/office/drawing/2014/main" id="{015933F0-BF4B-4AE5-B6A8-E8ACCF194DAF}"/>
                </a:ext>
              </a:extLst>
            </p:cNvPr>
            <p:cNvSpPr/>
            <p:nvPr/>
          </p:nvSpPr>
          <p:spPr>
            <a:xfrm rot="9463393" flipH="1" flipV="1">
              <a:off x="3914548" y="3970777"/>
              <a:ext cx="1401313"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sp>
          <p:nvSpPr>
            <p:cNvPr id="98" name="Abgerundetes Rechteck 261">
              <a:extLst>
                <a:ext uri="{FF2B5EF4-FFF2-40B4-BE49-F238E27FC236}">
                  <a16:creationId xmlns:a16="http://schemas.microsoft.com/office/drawing/2014/main" id="{9C765FF3-52F8-4AF4-90B5-1E6C8047C0D4}"/>
                </a:ext>
              </a:extLst>
            </p:cNvPr>
            <p:cNvSpPr/>
            <p:nvPr/>
          </p:nvSpPr>
          <p:spPr>
            <a:xfrm rot="12136607" flipV="1">
              <a:off x="3842667" y="4850325"/>
              <a:ext cx="3316159" cy="45719"/>
            </a:xfrm>
            <a:prstGeom prst="roundRect">
              <a:avLst>
                <a:gd name="adj" fmla="val 50000"/>
              </a:avLst>
            </a:prstGeom>
            <a:gradFill>
              <a:gsLst>
                <a:gs pos="100000">
                  <a:schemeClr val="accent1"/>
                </a:gs>
                <a:gs pos="0">
                  <a:schemeClr val="accent2"/>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rgbClr val="002897"/>
                </a:buClr>
                <a:buFont typeface="Wingdings" pitchFamily="2" charset="2"/>
                <a:buNone/>
              </a:pPr>
              <a:endParaRPr lang="de-DE" dirty="0" err="1">
                <a:solidFill>
                  <a:srgbClr val="FFFFFF"/>
                </a:solidFill>
                <a:latin typeface="+mj-lt"/>
                <a:cs typeface="Arial" pitchFamily="34" charset="0"/>
              </a:endParaRPr>
            </a:p>
          </p:txBody>
        </p:sp>
        <p:pic>
          <p:nvPicPr>
            <p:cNvPr id="99" name="PPTShape_2">
              <a:extLst>
                <a:ext uri="{FF2B5EF4-FFF2-40B4-BE49-F238E27FC236}">
                  <a16:creationId xmlns:a16="http://schemas.microsoft.com/office/drawing/2014/main" id="{509C4CF5-7ED2-4487-A445-7785E538D209}"/>
                </a:ext>
              </a:extLst>
            </p:cNvPr>
            <p:cNvPicPr>
              <a:picLocks noChangeAspect="1" noChangeArrowheads="1"/>
            </p:cNvPicPr>
            <p:nvPr>
              <p:custDataLst>
                <p:tags r:id="rId36"/>
              </p:custDataLst>
            </p:nvPr>
          </p:nvPicPr>
          <p:blipFill>
            <a:blip r:embed="rId69" cstate="print">
              <a:lum/>
              <a:extLst>
                <a:ext uri="{28A0092B-C50C-407E-A947-70E740481C1C}">
                  <a14:useLocalDpi xmlns:a14="http://schemas.microsoft.com/office/drawing/2010/main"/>
                </a:ext>
              </a:extLst>
            </a:blip>
            <a:srcRect/>
            <a:stretch>
              <a:fillRect/>
            </a:stretch>
          </p:blipFill>
          <p:spPr bwMode="auto">
            <a:xfrm>
              <a:off x="5383138" y="4729784"/>
              <a:ext cx="1447385" cy="667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0" name="Legende mit Linie 1 (Markierungsleiste) 148">
              <a:extLst>
                <a:ext uri="{FF2B5EF4-FFF2-40B4-BE49-F238E27FC236}">
                  <a16:creationId xmlns:a16="http://schemas.microsoft.com/office/drawing/2014/main" id="{2321A759-01A0-455A-BFCD-F0D8499A84E6}"/>
                </a:ext>
              </a:extLst>
            </p:cNvPr>
            <p:cNvSpPr/>
            <p:nvPr/>
          </p:nvSpPr>
          <p:spPr>
            <a:xfrm flipH="1">
              <a:off x="-322131" y="5073702"/>
              <a:ext cx="1839483" cy="692407"/>
            </a:xfrm>
            <a:prstGeom prst="accentCallout1">
              <a:avLst>
                <a:gd name="adj1" fmla="val 18750"/>
                <a:gd name="adj2" fmla="val -8333"/>
                <a:gd name="adj3" fmla="val -62331"/>
                <a:gd name="adj4" fmla="val -65001"/>
              </a:avLst>
            </a:prstGeom>
            <a:solidFill>
              <a:srgbClr val="FFFFFF">
                <a:alpha val="80000"/>
              </a:srgb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72000" tIns="36000" rIns="72000" bIns="36000" rtlCol="0" anchor="ctr">
              <a:spAutoFit/>
            </a:bodyPr>
            <a:lstStyle/>
            <a:p>
              <a:pPr algn="r"/>
              <a:r>
                <a:rPr lang="en-US" sz="1200" dirty="0">
                  <a:solidFill>
                    <a:srgbClr val="000000"/>
                  </a:solidFill>
                  <a:latin typeface="+mj-lt"/>
                </a:rPr>
                <a:t>Wastewater Treatment and </a:t>
              </a:r>
            </a:p>
            <a:p>
              <a:pPr algn="r"/>
              <a:r>
                <a:rPr lang="en-US" sz="1200" dirty="0">
                  <a:solidFill>
                    <a:srgbClr val="000000"/>
                  </a:solidFill>
                  <a:latin typeface="+mj-lt"/>
                </a:rPr>
                <a:t>Re-use Plants</a:t>
              </a:r>
            </a:p>
          </p:txBody>
        </p:sp>
        <p:sp>
          <p:nvSpPr>
            <p:cNvPr id="101" name="Legende mit Linie 1 (Markierungsleiste) 149">
              <a:extLst>
                <a:ext uri="{FF2B5EF4-FFF2-40B4-BE49-F238E27FC236}">
                  <a16:creationId xmlns:a16="http://schemas.microsoft.com/office/drawing/2014/main" id="{9216F770-918A-4AE9-B290-076E4EA3BDCB}"/>
                </a:ext>
              </a:extLst>
            </p:cNvPr>
            <p:cNvSpPr/>
            <p:nvPr/>
          </p:nvSpPr>
          <p:spPr>
            <a:xfrm flipH="1">
              <a:off x="-148945" y="2461471"/>
              <a:ext cx="1586879" cy="692407"/>
            </a:xfrm>
            <a:prstGeom prst="accentCallout1">
              <a:avLst>
                <a:gd name="adj1" fmla="val 18750"/>
                <a:gd name="adj2" fmla="val -8333"/>
                <a:gd name="adj3" fmla="val 45093"/>
                <a:gd name="adj4" fmla="val -46493"/>
              </a:avLst>
            </a:prstGeom>
            <a:solidFill>
              <a:srgbClr val="FFFFFF">
                <a:alpha val="80000"/>
              </a:srgb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72000" tIns="36000" rIns="72000" bIns="36000" rtlCol="0" anchor="ctr">
              <a:spAutoFit/>
            </a:bodyPr>
            <a:lstStyle/>
            <a:p>
              <a:pPr algn="r"/>
              <a:r>
                <a:rPr lang="en-US" sz="1200" dirty="0">
                  <a:solidFill>
                    <a:srgbClr val="000000"/>
                  </a:solidFill>
                  <a:latin typeface="+mj-lt"/>
                </a:rPr>
                <a:t>Industrial Treatment and </a:t>
              </a:r>
            </a:p>
            <a:p>
              <a:pPr algn="r"/>
              <a:r>
                <a:rPr lang="en-US" sz="1200" dirty="0">
                  <a:solidFill>
                    <a:srgbClr val="000000"/>
                  </a:solidFill>
                  <a:latin typeface="+mj-lt"/>
                </a:rPr>
                <a:t>Re-use Plants</a:t>
              </a:r>
            </a:p>
          </p:txBody>
        </p:sp>
        <p:sp>
          <p:nvSpPr>
            <p:cNvPr id="102" name="Legende mit Linie 1 (Markierungsleiste) 153">
              <a:extLst>
                <a:ext uri="{FF2B5EF4-FFF2-40B4-BE49-F238E27FC236}">
                  <a16:creationId xmlns:a16="http://schemas.microsoft.com/office/drawing/2014/main" id="{DD077541-508F-4060-952E-2802643C529E}"/>
                </a:ext>
              </a:extLst>
            </p:cNvPr>
            <p:cNvSpPr/>
            <p:nvPr/>
          </p:nvSpPr>
          <p:spPr>
            <a:xfrm flipH="1">
              <a:off x="3855822" y="4520519"/>
              <a:ext cx="1443623" cy="488380"/>
            </a:xfrm>
            <a:prstGeom prst="accentCallout1">
              <a:avLst>
                <a:gd name="adj1" fmla="val 18750"/>
                <a:gd name="adj2" fmla="val -8333"/>
                <a:gd name="adj3" fmla="val 51572"/>
                <a:gd name="adj4" fmla="val -42718"/>
              </a:avLst>
            </a:prstGeom>
            <a:solidFill>
              <a:srgbClr val="FFFFFF">
                <a:alpha val="80000"/>
              </a:srgb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72000" tIns="36000" rIns="72000" bIns="36000" rtlCol="0" anchor="ctr">
              <a:spAutoFit/>
            </a:bodyPr>
            <a:lstStyle/>
            <a:p>
              <a:pPr algn="r"/>
              <a:r>
                <a:rPr lang="en-US" sz="1200" dirty="0">
                  <a:solidFill>
                    <a:srgbClr val="000000"/>
                  </a:solidFill>
                  <a:latin typeface="+mj-lt"/>
                </a:rPr>
                <a:t>Desalination Plants</a:t>
              </a:r>
            </a:p>
          </p:txBody>
        </p:sp>
        <p:grpSp>
          <p:nvGrpSpPr>
            <p:cNvPr id="103" name="Gruppieren 282">
              <a:extLst>
                <a:ext uri="{FF2B5EF4-FFF2-40B4-BE49-F238E27FC236}">
                  <a16:creationId xmlns:a16="http://schemas.microsoft.com/office/drawing/2014/main" id="{BA55225B-B528-4DE5-8CD5-6101850511C6}"/>
                </a:ext>
              </a:extLst>
            </p:cNvPr>
            <p:cNvGrpSpPr/>
            <p:nvPr>
              <p:custDataLst>
                <p:tags r:id="rId37"/>
              </p:custDataLst>
            </p:nvPr>
          </p:nvGrpSpPr>
          <p:grpSpPr>
            <a:xfrm>
              <a:off x="4934446" y="2545854"/>
              <a:ext cx="2373858" cy="963058"/>
              <a:chOff x="4934446" y="2545854"/>
              <a:chExt cx="2373858" cy="963058"/>
            </a:xfrm>
          </p:grpSpPr>
          <p:sp>
            <p:nvSpPr>
              <p:cNvPr id="120" name="Freihandform 280">
                <a:extLst>
                  <a:ext uri="{FF2B5EF4-FFF2-40B4-BE49-F238E27FC236}">
                    <a16:creationId xmlns:a16="http://schemas.microsoft.com/office/drawing/2014/main" id="{17AA2DEB-DC02-4D82-8B82-97AC85244D8C}"/>
                  </a:ext>
                </a:extLst>
              </p:cNvPr>
              <p:cNvSpPr/>
              <p:nvPr/>
            </p:nvSpPr>
            <p:spPr>
              <a:xfrm>
                <a:off x="5084764" y="2550318"/>
                <a:ext cx="1949451" cy="878679"/>
              </a:xfrm>
              <a:custGeom>
                <a:avLst/>
                <a:gdLst>
                  <a:gd name="connsiteX0" fmla="*/ 23813 w 23813"/>
                  <a:gd name="connsiteY0" fmla="*/ 0 h 176213"/>
                  <a:gd name="connsiteX1" fmla="*/ 19050 w 23813"/>
                  <a:gd name="connsiteY1" fmla="*/ 147638 h 176213"/>
                  <a:gd name="connsiteX2" fmla="*/ 14288 w 23813"/>
                  <a:gd name="connsiteY2" fmla="*/ 166688 h 176213"/>
                  <a:gd name="connsiteX3" fmla="*/ 0 w 23813"/>
                  <a:gd name="connsiteY3" fmla="*/ 176213 h 176213"/>
                  <a:gd name="connsiteX0" fmla="*/ 9525 w 9525"/>
                  <a:gd name="connsiteY0" fmla="*/ 0 h 166688"/>
                  <a:gd name="connsiteX1" fmla="*/ 4762 w 9525"/>
                  <a:gd name="connsiteY1" fmla="*/ 147638 h 166688"/>
                  <a:gd name="connsiteX2" fmla="*/ 0 w 9525"/>
                  <a:gd name="connsiteY2" fmla="*/ 166688 h 166688"/>
                  <a:gd name="connsiteX0" fmla="*/ 10000 w 79617"/>
                  <a:gd name="connsiteY0" fmla="*/ 0 h 10000"/>
                  <a:gd name="connsiteX1" fmla="*/ 76667 w 79617"/>
                  <a:gd name="connsiteY1" fmla="*/ 3905 h 10000"/>
                  <a:gd name="connsiteX2" fmla="*/ 0 w 79617"/>
                  <a:gd name="connsiteY2" fmla="*/ 10000 h 10000"/>
                  <a:gd name="connsiteX0" fmla="*/ 10000 w 79617"/>
                  <a:gd name="connsiteY0" fmla="*/ 0 h 10000"/>
                  <a:gd name="connsiteX1" fmla="*/ 76667 w 79617"/>
                  <a:gd name="connsiteY1" fmla="*/ 3905 h 10000"/>
                  <a:gd name="connsiteX2" fmla="*/ 0 w 79617"/>
                  <a:gd name="connsiteY2" fmla="*/ 10000 h 10000"/>
                  <a:gd name="connsiteX0" fmla="*/ 10000 w 79617"/>
                  <a:gd name="connsiteY0" fmla="*/ 0 h 10000"/>
                  <a:gd name="connsiteX1" fmla="*/ 76667 w 79617"/>
                  <a:gd name="connsiteY1" fmla="*/ 3905 h 10000"/>
                  <a:gd name="connsiteX2" fmla="*/ 0 w 79617"/>
                  <a:gd name="connsiteY2" fmla="*/ 10000 h 10000"/>
                  <a:gd name="connsiteX0" fmla="*/ 2006672 w 2076289"/>
                  <a:gd name="connsiteY0" fmla="*/ 0 h 52714"/>
                  <a:gd name="connsiteX1" fmla="*/ 2073339 w 2076289"/>
                  <a:gd name="connsiteY1" fmla="*/ 3905 h 52714"/>
                  <a:gd name="connsiteX2" fmla="*/ 0 w 2076289"/>
                  <a:gd name="connsiteY2" fmla="*/ 52714 h 52714"/>
                  <a:gd name="connsiteX0" fmla="*/ 2006672 w 2073339"/>
                  <a:gd name="connsiteY0" fmla="*/ 0 h 52714"/>
                  <a:gd name="connsiteX1" fmla="*/ 2073339 w 2073339"/>
                  <a:gd name="connsiteY1" fmla="*/ 3905 h 52714"/>
                  <a:gd name="connsiteX2" fmla="*/ 0 w 2073339"/>
                  <a:gd name="connsiteY2" fmla="*/ 52714 h 52714"/>
                  <a:gd name="connsiteX0" fmla="*/ 2006672 w 2040006"/>
                  <a:gd name="connsiteY0" fmla="*/ 0 h 52714"/>
                  <a:gd name="connsiteX1" fmla="*/ 2040006 w 2040006"/>
                  <a:gd name="connsiteY1" fmla="*/ 4647 h 52714"/>
                  <a:gd name="connsiteX2" fmla="*/ 0 w 2040006"/>
                  <a:gd name="connsiteY2" fmla="*/ 52714 h 52714"/>
                  <a:gd name="connsiteX0" fmla="*/ 2006672 w 2040006"/>
                  <a:gd name="connsiteY0" fmla="*/ 0 h 52714"/>
                  <a:gd name="connsiteX1" fmla="*/ 2040006 w 2040006"/>
                  <a:gd name="connsiteY1" fmla="*/ 4647 h 52714"/>
                  <a:gd name="connsiteX2" fmla="*/ 0 w 2040006"/>
                  <a:gd name="connsiteY2" fmla="*/ 52714 h 52714"/>
                  <a:gd name="connsiteX0" fmla="*/ 2006672 w 2046674"/>
                  <a:gd name="connsiteY0" fmla="*/ 0 h 52714"/>
                  <a:gd name="connsiteX1" fmla="*/ 2046674 w 2046674"/>
                  <a:gd name="connsiteY1" fmla="*/ 3905 h 52714"/>
                  <a:gd name="connsiteX2" fmla="*/ 0 w 2046674"/>
                  <a:gd name="connsiteY2" fmla="*/ 52714 h 52714"/>
                  <a:gd name="connsiteX0" fmla="*/ 2006672 w 2046674"/>
                  <a:gd name="connsiteY0" fmla="*/ 0 h 52714"/>
                  <a:gd name="connsiteX1" fmla="*/ 2046674 w 2046674"/>
                  <a:gd name="connsiteY1" fmla="*/ 3905 h 52714"/>
                  <a:gd name="connsiteX2" fmla="*/ 0 w 2046674"/>
                  <a:gd name="connsiteY2" fmla="*/ 52714 h 52714"/>
                  <a:gd name="connsiteX0" fmla="*/ 2006672 w 2046674"/>
                  <a:gd name="connsiteY0" fmla="*/ 0 h 52714"/>
                  <a:gd name="connsiteX1" fmla="*/ 2046674 w 2046674"/>
                  <a:gd name="connsiteY1" fmla="*/ 3905 h 52714"/>
                  <a:gd name="connsiteX2" fmla="*/ 0 w 2046674"/>
                  <a:gd name="connsiteY2" fmla="*/ 52714 h 52714"/>
                  <a:gd name="connsiteX0" fmla="*/ 2006672 w 2046674"/>
                  <a:gd name="connsiteY0" fmla="*/ 0 h 52714"/>
                  <a:gd name="connsiteX1" fmla="*/ 2046674 w 2046674"/>
                  <a:gd name="connsiteY1" fmla="*/ 3905 h 52714"/>
                  <a:gd name="connsiteX2" fmla="*/ 0 w 2046674"/>
                  <a:gd name="connsiteY2" fmla="*/ 52714 h 52714"/>
                  <a:gd name="connsiteX0" fmla="*/ 2006672 w 2046674"/>
                  <a:gd name="connsiteY0" fmla="*/ 0 h 52714"/>
                  <a:gd name="connsiteX1" fmla="*/ 2046674 w 2046674"/>
                  <a:gd name="connsiteY1" fmla="*/ 3905 h 52714"/>
                  <a:gd name="connsiteX2" fmla="*/ 0 w 2046674"/>
                  <a:gd name="connsiteY2" fmla="*/ 52714 h 52714"/>
                  <a:gd name="connsiteX0" fmla="*/ 2006672 w 2046674"/>
                  <a:gd name="connsiteY0" fmla="*/ 0 h 52714"/>
                  <a:gd name="connsiteX1" fmla="*/ 2046674 w 2046674"/>
                  <a:gd name="connsiteY1" fmla="*/ 3905 h 52714"/>
                  <a:gd name="connsiteX2" fmla="*/ 0 w 2046674"/>
                  <a:gd name="connsiteY2" fmla="*/ 52714 h 52714"/>
                  <a:gd name="connsiteX0" fmla="*/ 2006672 w 2046674"/>
                  <a:gd name="connsiteY0" fmla="*/ 0 h 52714"/>
                  <a:gd name="connsiteX1" fmla="*/ 2046674 w 2046674"/>
                  <a:gd name="connsiteY1" fmla="*/ 3905 h 52714"/>
                  <a:gd name="connsiteX2" fmla="*/ 0 w 2046674"/>
                  <a:gd name="connsiteY2" fmla="*/ 52714 h 52714"/>
                </a:gdLst>
                <a:ahLst/>
                <a:cxnLst>
                  <a:cxn ang="0">
                    <a:pos x="connsiteX0" y="connsiteY0"/>
                  </a:cxn>
                  <a:cxn ang="0">
                    <a:pos x="connsiteX1" y="connsiteY1"/>
                  </a:cxn>
                  <a:cxn ang="0">
                    <a:pos x="connsiteX2" y="connsiteY2"/>
                  </a:cxn>
                </a:cxnLst>
                <a:rect l="l" t="t" r="r" b="b"/>
                <a:pathLst>
                  <a:path w="2046674" h="52714">
                    <a:moveTo>
                      <a:pt x="2006672" y="0"/>
                    </a:moveTo>
                    <a:cubicBezTo>
                      <a:pt x="2027505" y="2476"/>
                      <a:pt x="2033791" y="2219"/>
                      <a:pt x="2046674" y="3905"/>
                    </a:cubicBezTo>
                    <a:lnTo>
                      <a:pt x="0" y="52714"/>
                    </a:lnTo>
                  </a:path>
                </a:pathLst>
              </a:cu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latin typeface="+mj-lt"/>
                </a:endParaRPr>
              </a:p>
            </p:txBody>
          </p:sp>
          <p:pic>
            <p:nvPicPr>
              <p:cNvPr id="121" name="Picture 4">
                <a:extLst>
                  <a:ext uri="{FF2B5EF4-FFF2-40B4-BE49-F238E27FC236}">
                    <a16:creationId xmlns:a16="http://schemas.microsoft.com/office/drawing/2014/main" id="{FEA1EEB3-0E74-4BDE-8C6A-E9B1A1A1A85B}"/>
                  </a:ext>
                </a:extLst>
              </p:cNvPr>
              <p:cNvPicPr>
                <a:picLocks noChangeAspect="1" noChangeArrowheads="1"/>
              </p:cNvPicPr>
              <p:nvPr/>
            </p:nvPicPr>
            <p:blipFill>
              <a:blip r:embed="rId70" cstate="print">
                <a:extLst>
                  <a:ext uri="{28A0092B-C50C-407E-A947-70E740481C1C}">
                    <a14:useLocalDpi xmlns:a14="http://schemas.microsoft.com/office/drawing/2010/main"/>
                  </a:ext>
                </a:extLst>
              </a:blip>
              <a:srcRect/>
              <a:stretch>
                <a:fillRect/>
              </a:stretch>
            </p:blipFill>
            <p:spPr bwMode="auto">
              <a:xfrm flipH="1">
                <a:off x="6044523" y="2909547"/>
                <a:ext cx="339463" cy="199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2" name="Freeform 324">
                <a:extLst>
                  <a:ext uri="{FF2B5EF4-FFF2-40B4-BE49-F238E27FC236}">
                    <a16:creationId xmlns:a16="http://schemas.microsoft.com/office/drawing/2014/main" id="{A85495B4-FC6C-41B4-91F3-969A29970247}"/>
                  </a:ext>
                </a:extLst>
              </p:cNvPr>
              <p:cNvSpPr/>
              <p:nvPr/>
            </p:nvSpPr>
            <p:spPr>
              <a:xfrm flipH="1">
                <a:off x="4934446" y="2545854"/>
                <a:ext cx="2373858" cy="963058"/>
              </a:xfrm>
              <a:custGeom>
                <a:avLst/>
                <a:gdLst/>
                <a:ahLst/>
                <a:cxnLst/>
                <a:rect l="l" t="t" r="r" b="b"/>
                <a:pathLst>
                  <a:path w="2373858" h="963058">
                    <a:moveTo>
                      <a:pt x="302864" y="0"/>
                    </a:moveTo>
                    <a:cubicBezTo>
                      <a:pt x="197830" y="40594"/>
                      <a:pt x="92908" y="79267"/>
                      <a:pt x="0" y="114017"/>
                    </a:cubicBezTo>
                    <a:lnTo>
                      <a:pt x="2082312" y="963058"/>
                    </a:lnTo>
                    <a:lnTo>
                      <a:pt x="2373858" y="844427"/>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9388" indent="-179388" algn="ctr" fontAlgn="auto">
                  <a:spcBef>
                    <a:spcPts val="1100"/>
                  </a:spcBef>
                  <a:spcAft>
                    <a:spcPts val="0"/>
                  </a:spcAft>
                  <a:defRPr/>
                </a:pPr>
                <a:endParaRPr lang="en-US">
                  <a:solidFill>
                    <a:srgbClr val="000000"/>
                  </a:solidFill>
                  <a:latin typeface="+mj-lt"/>
                </a:endParaRPr>
              </a:p>
            </p:txBody>
          </p:sp>
          <p:sp>
            <p:nvSpPr>
              <p:cNvPr id="123" name="Rechteck 281">
                <a:extLst>
                  <a:ext uri="{FF2B5EF4-FFF2-40B4-BE49-F238E27FC236}">
                    <a16:creationId xmlns:a16="http://schemas.microsoft.com/office/drawing/2014/main" id="{3072D2D7-19E6-480C-B88F-FE055A12FC52}"/>
                  </a:ext>
                </a:extLst>
              </p:cNvPr>
              <p:cNvSpPr/>
              <p:nvPr/>
            </p:nvSpPr>
            <p:spPr>
              <a:xfrm rot="20255882" flipH="1">
                <a:off x="6268581" y="3056133"/>
                <a:ext cx="162913" cy="1307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indent="0" algn="ctr" fontAlgn="auto">
                  <a:spcBef>
                    <a:spcPts val="0"/>
                  </a:spcBef>
                  <a:spcAft>
                    <a:spcPts val="0"/>
                  </a:spcAft>
                  <a:defRPr/>
                </a:pPr>
                <a:endParaRPr lang="de-DE" dirty="0" err="1">
                  <a:solidFill>
                    <a:srgbClr val="FFFFFF"/>
                  </a:solidFill>
                  <a:latin typeface="+mj-lt"/>
                </a:endParaRPr>
              </a:p>
            </p:txBody>
          </p:sp>
          <p:pic>
            <p:nvPicPr>
              <p:cNvPr id="124" name="Picture 5">
                <a:extLst>
                  <a:ext uri="{FF2B5EF4-FFF2-40B4-BE49-F238E27FC236}">
                    <a16:creationId xmlns:a16="http://schemas.microsoft.com/office/drawing/2014/main" id="{4F48FF6C-15A6-4E32-9A05-4CEBDDF7F2AC}"/>
                  </a:ext>
                </a:extLst>
              </p:cNvPr>
              <p:cNvPicPr>
                <a:picLocks noChangeAspect="1" noChangeArrowheads="1"/>
              </p:cNvPicPr>
              <p:nvPr/>
            </p:nvPicPr>
            <p:blipFill>
              <a:blip r:embed="rId71" cstate="print">
                <a:extLst>
                  <a:ext uri="{28A0092B-C50C-407E-A947-70E740481C1C}">
                    <a14:useLocalDpi xmlns:a14="http://schemas.microsoft.com/office/drawing/2010/main"/>
                  </a:ext>
                </a:extLst>
              </a:blip>
              <a:srcRect/>
              <a:stretch>
                <a:fillRect/>
              </a:stretch>
            </p:blipFill>
            <p:spPr bwMode="auto">
              <a:xfrm>
                <a:off x="6044523" y="2908946"/>
                <a:ext cx="338400" cy="169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04" name="Picture 5">
              <a:extLst>
                <a:ext uri="{FF2B5EF4-FFF2-40B4-BE49-F238E27FC236}">
                  <a16:creationId xmlns:a16="http://schemas.microsoft.com/office/drawing/2014/main" id="{3A96640C-554D-4CB4-A2EF-109D8902F8A9}"/>
                </a:ext>
              </a:extLst>
            </p:cNvPr>
            <p:cNvPicPr>
              <a:picLocks noChangeAspect="1" noChangeArrowheads="1"/>
            </p:cNvPicPr>
            <p:nvPr>
              <p:custDataLst>
                <p:tags r:id="rId38"/>
              </p:custDataLst>
            </p:nvPr>
          </p:nvPicPr>
          <p:blipFill>
            <a:blip r:embed="rId72">
              <a:extLst>
                <a:ext uri="{28A0092B-C50C-407E-A947-70E740481C1C}">
                  <a14:useLocalDpi xmlns:a14="http://schemas.microsoft.com/office/drawing/2010/main"/>
                </a:ext>
              </a:extLst>
            </a:blip>
            <a:srcRect/>
            <a:stretch>
              <a:fillRect/>
            </a:stretch>
          </p:blipFill>
          <p:spPr bwMode="auto">
            <a:xfrm>
              <a:off x="5814219" y="2658646"/>
              <a:ext cx="781050" cy="439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5" name="Legende mit Linie 1 (Markierungsleiste) 154">
              <a:extLst>
                <a:ext uri="{FF2B5EF4-FFF2-40B4-BE49-F238E27FC236}">
                  <a16:creationId xmlns:a16="http://schemas.microsoft.com/office/drawing/2014/main" id="{3D3495AD-2507-43C4-8BE3-EE4730FD77A0}"/>
                </a:ext>
              </a:extLst>
            </p:cNvPr>
            <p:cNvSpPr/>
            <p:nvPr/>
          </p:nvSpPr>
          <p:spPr>
            <a:xfrm>
              <a:off x="8070875" y="4894871"/>
              <a:ext cx="1194639" cy="692407"/>
            </a:xfrm>
            <a:prstGeom prst="accentCallout1">
              <a:avLst>
                <a:gd name="adj1" fmla="val 18750"/>
                <a:gd name="adj2" fmla="val -8333"/>
                <a:gd name="adj3" fmla="val 3405"/>
                <a:gd name="adj4" fmla="val -38245"/>
              </a:avLst>
            </a:prstGeom>
            <a:solidFill>
              <a:srgbClr val="FFFFFF">
                <a:alpha val="80000"/>
              </a:srgb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72000" tIns="36000" rIns="72000" bIns="36000" rtlCol="0" anchor="ctr">
              <a:spAutoFit/>
            </a:bodyPr>
            <a:lstStyle/>
            <a:p>
              <a:r>
                <a:rPr lang="en-US" sz="1200" dirty="0">
                  <a:solidFill>
                    <a:srgbClr val="000000"/>
                  </a:solidFill>
                  <a:latin typeface="+mj-lt"/>
                </a:rPr>
                <a:t>Municipal Treatment Plants </a:t>
              </a:r>
            </a:p>
          </p:txBody>
        </p:sp>
        <p:pic>
          <p:nvPicPr>
            <p:cNvPr id="106" name="Picture 2">
              <a:extLst>
                <a:ext uri="{FF2B5EF4-FFF2-40B4-BE49-F238E27FC236}">
                  <a16:creationId xmlns:a16="http://schemas.microsoft.com/office/drawing/2014/main" id="{7C0F03B1-21BC-4535-A190-EE5153C567E6}"/>
                </a:ext>
              </a:extLst>
            </p:cNvPr>
            <p:cNvPicPr>
              <a:picLocks noChangeAspect="1" noChangeArrowheads="1"/>
            </p:cNvPicPr>
            <p:nvPr>
              <p:custDataLst>
                <p:tags r:id="rId39"/>
              </p:custDataLst>
            </p:nvPr>
          </p:nvPicPr>
          <p:blipFill>
            <a:blip r:embed="rId73">
              <a:extLst>
                <a:ext uri="{28A0092B-C50C-407E-A947-70E740481C1C}">
                  <a14:useLocalDpi xmlns:a14="http://schemas.microsoft.com/office/drawing/2010/main"/>
                </a:ext>
              </a:extLst>
            </a:blip>
            <a:srcRect/>
            <a:stretch>
              <a:fillRect/>
            </a:stretch>
          </p:blipFill>
          <p:spPr bwMode="auto">
            <a:xfrm>
              <a:off x="2390713" y="2050541"/>
              <a:ext cx="2060575" cy="1414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 name="Picture 4">
              <a:extLst>
                <a:ext uri="{FF2B5EF4-FFF2-40B4-BE49-F238E27FC236}">
                  <a16:creationId xmlns:a16="http://schemas.microsoft.com/office/drawing/2014/main" id="{D62A7289-C982-425F-8AAA-A81152931C4F}"/>
                </a:ext>
              </a:extLst>
            </p:cNvPr>
            <p:cNvPicPr>
              <a:picLocks noChangeAspect="1" noChangeArrowheads="1"/>
            </p:cNvPicPr>
            <p:nvPr>
              <p:custDataLst>
                <p:tags r:id="rId40"/>
              </p:custDataLst>
            </p:nvPr>
          </p:nvPicPr>
          <p:blipFill>
            <a:blip r:embed="rId74">
              <a:extLst>
                <a:ext uri="{28A0092B-C50C-407E-A947-70E740481C1C}">
                  <a14:useLocalDpi xmlns:a14="http://schemas.microsoft.com/office/drawing/2010/main"/>
                </a:ext>
              </a:extLst>
            </a:blip>
            <a:srcRect/>
            <a:stretch>
              <a:fillRect/>
            </a:stretch>
          </p:blipFill>
          <p:spPr bwMode="auto">
            <a:xfrm>
              <a:off x="5810890" y="2662259"/>
              <a:ext cx="781050" cy="53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8" name="Legende mit Linie 1 (Markierungsleiste) 150">
              <a:extLst>
                <a:ext uri="{FF2B5EF4-FFF2-40B4-BE49-F238E27FC236}">
                  <a16:creationId xmlns:a16="http://schemas.microsoft.com/office/drawing/2014/main" id="{6BCFCBAA-EF1B-439D-B061-34057427237F}"/>
                </a:ext>
              </a:extLst>
            </p:cNvPr>
            <p:cNvSpPr/>
            <p:nvPr/>
          </p:nvSpPr>
          <p:spPr>
            <a:xfrm flipH="1">
              <a:off x="1667038" y="3146212"/>
              <a:ext cx="1336814" cy="488380"/>
            </a:xfrm>
            <a:prstGeom prst="accentCallout1">
              <a:avLst>
                <a:gd name="adj1" fmla="val 18750"/>
                <a:gd name="adj2" fmla="val -8333"/>
                <a:gd name="adj3" fmla="val -38068"/>
                <a:gd name="adj4" fmla="val -37118"/>
              </a:avLst>
            </a:prstGeom>
            <a:solidFill>
              <a:srgbClr val="FFFFFF">
                <a:alpha val="80000"/>
              </a:srgb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72000" tIns="36000" rIns="72000" bIns="36000" rtlCol="0" anchor="ctr">
              <a:spAutoFit/>
            </a:bodyPr>
            <a:lstStyle/>
            <a:p>
              <a:pPr algn="r"/>
              <a:r>
                <a:rPr lang="en-US" sz="1200" dirty="0">
                  <a:solidFill>
                    <a:srgbClr val="000000"/>
                  </a:solidFill>
                  <a:latin typeface="+mj-lt"/>
                </a:rPr>
                <a:t>Distribution Networks</a:t>
              </a:r>
            </a:p>
          </p:txBody>
        </p:sp>
        <p:pic>
          <p:nvPicPr>
            <p:cNvPr id="109" name="PPTShape_31" descr="C:\Users\nikita zacharias.EXPLAIN\Desktop\Coregraphic 3.png">
              <a:extLst>
                <a:ext uri="{FF2B5EF4-FFF2-40B4-BE49-F238E27FC236}">
                  <a16:creationId xmlns:a16="http://schemas.microsoft.com/office/drawing/2014/main" id="{F7BF5105-FC06-48D4-8357-1E64970C62F5}"/>
                </a:ext>
              </a:extLst>
            </p:cNvPr>
            <p:cNvPicPr>
              <a:picLocks noChangeAspect="1" noChangeArrowheads="1"/>
            </p:cNvPicPr>
            <p:nvPr>
              <p:custDataLst>
                <p:tags r:id="rId41"/>
              </p:custDataLst>
            </p:nvPr>
          </p:nvPicPr>
          <p:blipFill>
            <a:blip r:embed="rId75" cstate="print">
              <a:extLst>
                <a:ext uri="{28A0092B-C50C-407E-A947-70E740481C1C}">
                  <a14:useLocalDpi xmlns:a14="http://schemas.microsoft.com/office/drawing/2010/main"/>
                </a:ext>
              </a:extLst>
            </a:blip>
            <a:srcRect/>
            <a:stretch>
              <a:fillRect/>
            </a:stretch>
          </p:blipFill>
          <p:spPr bwMode="auto">
            <a:xfrm>
              <a:off x="4143693" y="2531428"/>
              <a:ext cx="828675" cy="941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0" name="Legende mit Linie 1 (Markierungsleiste) 152">
              <a:extLst>
                <a:ext uri="{FF2B5EF4-FFF2-40B4-BE49-F238E27FC236}">
                  <a16:creationId xmlns:a16="http://schemas.microsoft.com/office/drawing/2014/main" id="{97515367-7559-484D-9E19-8AA423D123CF}"/>
                </a:ext>
              </a:extLst>
            </p:cNvPr>
            <p:cNvSpPr/>
            <p:nvPr/>
          </p:nvSpPr>
          <p:spPr>
            <a:xfrm>
              <a:off x="6634139" y="3212083"/>
              <a:ext cx="1109911" cy="488380"/>
            </a:xfrm>
            <a:prstGeom prst="accentCallout1">
              <a:avLst>
                <a:gd name="adj1" fmla="val 18750"/>
                <a:gd name="adj2" fmla="val -8333"/>
                <a:gd name="adj3" fmla="val -70237"/>
                <a:gd name="adj4" fmla="val -42115"/>
              </a:avLst>
            </a:prstGeom>
            <a:solidFill>
              <a:srgbClr val="FFFFFF">
                <a:alpha val="80000"/>
              </a:srgb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72000" tIns="36000" rIns="72000" bIns="36000" rtlCol="0" anchor="ctr">
              <a:spAutoFit/>
            </a:bodyPr>
            <a:lstStyle/>
            <a:p>
              <a:r>
                <a:rPr lang="en-US" sz="1200" dirty="0">
                  <a:solidFill>
                    <a:srgbClr val="000000"/>
                  </a:solidFill>
                  <a:latin typeface="+mj-lt"/>
                </a:rPr>
                <a:t>Irrigation Networks</a:t>
              </a:r>
            </a:p>
          </p:txBody>
        </p:sp>
        <p:pic>
          <p:nvPicPr>
            <p:cNvPr id="111" name="PPTShape_1">
              <a:extLst>
                <a:ext uri="{FF2B5EF4-FFF2-40B4-BE49-F238E27FC236}">
                  <a16:creationId xmlns:a16="http://schemas.microsoft.com/office/drawing/2014/main" id="{8994562B-356B-471A-BF4D-9BACF3F3BD30}"/>
                </a:ext>
              </a:extLst>
            </p:cNvPr>
            <p:cNvPicPr>
              <a:picLocks noChangeAspect="1" noChangeArrowheads="1"/>
            </p:cNvPicPr>
            <p:nvPr>
              <p:custDataLst>
                <p:tags r:id="rId42"/>
              </p:custDataLst>
            </p:nvPr>
          </p:nvPicPr>
          <p:blipFill>
            <a:blip r:embed="rId76">
              <a:extLst>
                <a:ext uri="{28A0092B-C50C-407E-A947-70E740481C1C}">
                  <a14:useLocalDpi xmlns:a14="http://schemas.microsoft.com/office/drawing/2010/main"/>
                </a:ext>
              </a:extLst>
            </a:blip>
            <a:srcRect/>
            <a:stretch>
              <a:fillRect/>
            </a:stretch>
          </p:blipFill>
          <p:spPr bwMode="auto">
            <a:xfrm>
              <a:off x="4387056" y="2787650"/>
              <a:ext cx="1285875" cy="871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 name="PPTShape_3" descr="C:\Users\nikita zacharias.EXPLAIN\Desktop\Coregraphic 3.png">
              <a:extLst>
                <a:ext uri="{FF2B5EF4-FFF2-40B4-BE49-F238E27FC236}">
                  <a16:creationId xmlns:a16="http://schemas.microsoft.com/office/drawing/2014/main" id="{F2F7FEF8-90B2-4257-9BA3-CE8C61C96C0E}"/>
                </a:ext>
              </a:extLst>
            </p:cNvPr>
            <p:cNvPicPr>
              <a:picLocks noChangeAspect="1" noChangeArrowheads="1"/>
            </p:cNvPicPr>
            <p:nvPr>
              <p:custDataLst>
                <p:tags r:id="rId43"/>
              </p:custDataLst>
            </p:nvPr>
          </p:nvPicPr>
          <p:blipFill>
            <a:blip r:embed="rId77" cstate="print">
              <a:extLst>
                <a:ext uri="{28A0092B-C50C-407E-A947-70E740481C1C}">
                  <a14:useLocalDpi xmlns:a14="http://schemas.microsoft.com/office/drawing/2010/main"/>
                </a:ext>
              </a:extLst>
            </a:blip>
            <a:srcRect/>
            <a:stretch>
              <a:fillRect/>
            </a:stretch>
          </p:blipFill>
          <p:spPr bwMode="auto">
            <a:xfrm>
              <a:off x="4668838" y="3184525"/>
              <a:ext cx="809625" cy="665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 name="PPTShape_32">
              <a:extLst>
                <a:ext uri="{FF2B5EF4-FFF2-40B4-BE49-F238E27FC236}">
                  <a16:creationId xmlns:a16="http://schemas.microsoft.com/office/drawing/2014/main" id="{0BF39385-A58D-4238-A99A-AD49222B0274}"/>
                </a:ext>
              </a:extLst>
            </p:cNvPr>
            <p:cNvPicPr>
              <a:picLocks noChangeAspect="1" noChangeArrowheads="1"/>
            </p:cNvPicPr>
            <p:nvPr>
              <p:custDataLst>
                <p:tags r:id="rId44"/>
              </p:custDataLst>
            </p:nvPr>
          </p:nvPicPr>
          <p:blipFill>
            <a:blip r:embed="rId78">
              <a:extLst>
                <a:ext uri="{28A0092B-C50C-407E-A947-70E740481C1C}">
                  <a14:useLocalDpi xmlns:a14="http://schemas.microsoft.com/office/drawing/2010/main"/>
                </a:ext>
              </a:extLst>
            </a:blip>
            <a:srcRect/>
            <a:stretch>
              <a:fillRect/>
            </a:stretch>
          </p:blipFill>
          <p:spPr bwMode="auto">
            <a:xfrm>
              <a:off x="4388644" y="2799148"/>
              <a:ext cx="1274762" cy="1116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 name="PPTShape_33" descr="C:\Users\nikita zacharias.EXPLAIN\Desktop\Coregraphic 3.png">
              <a:extLst>
                <a:ext uri="{FF2B5EF4-FFF2-40B4-BE49-F238E27FC236}">
                  <a16:creationId xmlns:a16="http://schemas.microsoft.com/office/drawing/2014/main" id="{41CF2B01-DA88-4EA3-98DF-9B0811B6C9F5}"/>
                </a:ext>
              </a:extLst>
            </p:cNvPr>
            <p:cNvPicPr>
              <a:picLocks noChangeAspect="1" noChangeArrowheads="1"/>
            </p:cNvPicPr>
            <p:nvPr>
              <p:custDataLst>
                <p:tags r:id="rId45"/>
              </p:custDataLst>
            </p:nvPr>
          </p:nvPicPr>
          <p:blipFill>
            <a:blip r:embed="rId79" cstate="print">
              <a:extLst>
                <a:ext uri="{28A0092B-C50C-407E-A947-70E740481C1C}">
                  <a14:useLocalDpi xmlns:a14="http://schemas.microsoft.com/office/drawing/2010/main"/>
                </a:ext>
              </a:extLst>
            </a:blip>
            <a:srcRect/>
            <a:stretch>
              <a:fillRect/>
            </a:stretch>
          </p:blipFill>
          <p:spPr bwMode="auto">
            <a:xfrm>
              <a:off x="4997450" y="3427413"/>
              <a:ext cx="1312863"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5" name="Freihandform 82">
              <a:extLst>
                <a:ext uri="{FF2B5EF4-FFF2-40B4-BE49-F238E27FC236}">
                  <a16:creationId xmlns:a16="http://schemas.microsoft.com/office/drawing/2014/main" id="{48D67902-A198-4E37-871B-06B0B8D38129}"/>
                </a:ext>
              </a:extLst>
            </p:cNvPr>
            <p:cNvSpPr/>
            <p:nvPr/>
          </p:nvSpPr>
          <p:spPr>
            <a:xfrm>
              <a:off x="5094288" y="3795713"/>
              <a:ext cx="568325" cy="234950"/>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325" h="234950">
                  <a:moveTo>
                    <a:pt x="0" y="82550"/>
                  </a:moveTo>
                  <a:lnTo>
                    <a:pt x="200025" y="0"/>
                  </a:lnTo>
                  <a:lnTo>
                    <a:pt x="568325" y="152400"/>
                  </a:lnTo>
                  <a:lnTo>
                    <a:pt x="371475" y="234950"/>
                  </a:lnTo>
                  <a:lnTo>
                    <a:pt x="0" y="82550"/>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116" name="Freihandform 83">
              <a:extLst>
                <a:ext uri="{FF2B5EF4-FFF2-40B4-BE49-F238E27FC236}">
                  <a16:creationId xmlns:a16="http://schemas.microsoft.com/office/drawing/2014/main" id="{7882B4D0-A5C5-45F4-9EA9-C1B630847AF2}"/>
                </a:ext>
              </a:extLst>
            </p:cNvPr>
            <p:cNvSpPr/>
            <p:nvPr/>
          </p:nvSpPr>
          <p:spPr>
            <a:xfrm>
              <a:off x="5316538" y="3709988"/>
              <a:ext cx="552450" cy="231775"/>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 name="connsiteX0" fmla="*/ 0 w 554037"/>
                <a:gd name="connsiteY0" fmla="*/ 82550 h 234950"/>
                <a:gd name="connsiteX1" fmla="*/ 200025 w 554037"/>
                <a:gd name="connsiteY1" fmla="*/ 0 h 234950"/>
                <a:gd name="connsiteX2" fmla="*/ 554037 w 554037"/>
                <a:gd name="connsiteY2" fmla="*/ 157163 h 234950"/>
                <a:gd name="connsiteX3" fmla="*/ 371475 w 554037"/>
                <a:gd name="connsiteY3" fmla="*/ 234950 h 234950"/>
                <a:gd name="connsiteX4" fmla="*/ 0 w 554037"/>
                <a:gd name="connsiteY4" fmla="*/ 82550 h 234950"/>
                <a:gd name="connsiteX0" fmla="*/ 0 w 554037"/>
                <a:gd name="connsiteY0" fmla="*/ 77788 h 230188"/>
                <a:gd name="connsiteX1" fmla="*/ 183357 w 554037"/>
                <a:gd name="connsiteY1" fmla="*/ 0 h 230188"/>
                <a:gd name="connsiteX2" fmla="*/ 554037 w 554037"/>
                <a:gd name="connsiteY2" fmla="*/ 152401 h 230188"/>
                <a:gd name="connsiteX3" fmla="*/ 371475 w 554037"/>
                <a:gd name="connsiteY3" fmla="*/ 230188 h 230188"/>
                <a:gd name="connsiteX4" fmla="*/ 0 w 554037"/>
                <a:gd name="connsiteY4" fmla="*/ 77788 h 230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037" h="230188">
                  <a:moveTo>
                    <a:pt x="0" y="77788"/>
                  </a:moveTo>
                  <a:lnTo>
                    <a:pt x="183357" y="0"/>
                  </a:lnTo>
                  <a:lnTo>
                    <a:pt x="554037" y="152401"/>
                  </a:lnTo>
                  <a:lnTo>
                    <a:pt x="371475" y="230188"/>
                  </a:lnTo>
                  <a:lnTo>
                    <a:pt x="0" y="77788"/>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117" name="Freihandform 84">
              <a:extLst>
                <a:ext uri="{FF2B5EF4-FFF2-40B4-BE49-F238E27FC236}">
                  <a16:creationId xmlns:a16="http://schemas.microsoft.com/office/drawing/2014/main" id="{DC777919-197C-4D99-AB17-6D655D02A1D3}"/>
                </a:ext>
              </a:extLst>
            </p:cNvPr>
            <p:cNvSpPr/>
            <p:nvPr/>
          </p:nvSpPr>
          <p:spPr>
            <a:xfrm>
              <a:off x="5521325" y="3630613"/>
              <a:ext cx="549275" cy="225425"/>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 name="connsiteX0" fmla="*/ 0 w 568325"/>
                <a:gd name="connsiteY0" fmla="*/ 73025 h 225425"/>
                <a:gd name="connsiteX1" fmla="*/ 173831 w 568325"/>
                <a:gd name="connsiteY1" fmla="*/ 0 h 225425"/>
                <a:gd name="connsiteX2" fmla="*/ 568325 w 568325"/>
                <a:gd name="connsiteY2" fmla="*/ 142875 h 225425"/>
                <a:gd name="connsiteX3" fmla="*/ 371475 w 568325"/>
                <a:gd name="connsiteY3" fmla="*/ 225425 h 225425"/>
                <a:gd name="connsiteX4" fmla="*/ 0 w 568325"/>
                <a:gd name="connsiteY4" fmla="*/ 73025 h 225425"/>
                <a:gd name="connsiteX0" fmla="*/ 0 w 549275"/>
                <a:gd name="connsiteY0" fmla="*/ 73025 h 225425"/>
                <a:gd name="connsiteX1" fmla="*/ 173831 w 549275"/>
                <a:gd name="connsiteY1" fmla="*/ 0 h 225425"/>
                <a:gd name="connsiteX2" fmla="*/ 549275 w 549275"/>
                <a:gd name="connsiteY2" fmla="*/ 152400 h 225425"/>
                <a:gd name="connsiteX3" fmla="*/ 371475 w 549275"/>
                <a:gd name="connsiteY3" fmla="*/ 225425 h 225425"/>
                <a:gd name="connsiteX4" fmla="*/ 0 w 549275"/>
                <a:gd name="connsiteY4" fmla="*/ 73025 h 225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275" h="225425">
                  <a:moveTo>
                    <a:pt x="0" y="73025"/>
                  </a:moveTo>
                  <a:lnTo>
                    <a:pt x="173831" y="0"/>
                  </a:lnTo>
                  <a:lnTo>
                    <a:pt x="549275" y="152400"/>
                  </a:lnTo>
                  <a:lnTo>
                    <a:pt x="371475" y="225425"/>
                  </a:lnTo>
                  <a:lnTo>
                    <a:pt x="0" y="73025"/>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118" name="Freihandform 85">
              <a:extLst>
                <a:ext uri="{FF2B5EF4-FFF2-40B4-BE49-F238E27FC236}">
                  <a16:creationId xmlns:a16="http://schemas.microsoft.com/office/drawing/2014/main" id="{85DC6AAD-C5B6-4346-A90A-5B86AC084248}"/>
                </a:ext>
              </a:extLst>
            </p:cNvPr>
            <p:cNvSpPr/>
            <p:nvPr/>
          </p:nvSpPr>
          <p:spPr>
            <a:xfrm>
              <a:off x="5713413" y="3551238"/>
              <a:ext cx="552450" cy="225425"/>
            </a:xfrm>
            <a:custGeom>
              <a:avLst/>
              <a:gdLst>
                <a:gd name="connsiteX0" fmla="*/ 0 w 568325"/>
                <a:gd name="connsiteY0" fmla="*/ 82550 h 234950"/>
                <a:gd name="connsiteX1" fmla="*/ 200025 w 568325"/>
                <a:gd name="connsiteY1" fmla="*/ 0 h 234950"/>
                <a:gd name="connsiteX2" fmla="*/ 568325 w 568325"/>
                <a:gd name="connsiteY2" fmla="*/ 152400 h 234950"/>
                <a:gd name="connsiteX3" fmla="*/ 371475 w 568325"/>
                <a:gd name="connsiteY3" fmla="*/ 234950 h 234950"/>
                <a:gd name="connsiteX4" fmla="*/ 0 w 568325"/>
                <a:gd name="connsiteY4" fmla="*/ 82550 h 234950"/>
                <a:gd name="connsiteX0" fmla="*/ 0 w 568325"/>
                <a:gd name="connsiteY0" fmla="*/ 73025 h 225425"/>
                <a:gd name="connsiteX1" fmla="*/ 171450 w 568325"/>
                <a:gd name="connsiteY1" fmla="*/ 0 h 225425"/>
                <a:gd name="connsiteX2" fmla="*/ 568325 w 568325"/>
                <a:gd name="connsiteY2" fmla="*/ 142875 h 225425"/>
                <a:gd name="connsiteX3" fmla="*/ 371475 w 568325"/>
                <a:gd name="connsiteY3" fmla="*/ 225425 h 225425"/>
                <a:gd name="connsiteX4" fmla="*/ 0 w 568325"/>
                <a:gd name="connsiteY4" fmla="*/ 73025 h 225425"/>
                <a:gd name="connsiteX0" fmla="*/ 0 w 551656"/>
                <a:gd name="connsiteY0" fmla="*/ 73025 h 225425"/>
                <a:gd name="connsiteX1" fmla="*/ 171450 w 551656"/>
                <a:gd name="connsiteY1" fmla="*/ 0 h 225425"/>
                <a:gd name="connsiteX2" fmla="*/ 551656 w 551656"/>
                <a:gd name="connsiteY2" fmla="*/ 152400 h 225425"/>
                <a:gd name="connsiteX3" fmla="*/ 371475 w 551656"/>
                <a:gd name="connsiteY3" fmla="*/ 225425 h 225425"/>
                <a:gd name="connsiteX4" fmla="*/ 0 w 551656"/>
                <a:gd name="connsiteY4" fmla="*/ 73025 h 225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656" h="225425">
                  <a:moveTo>
                    <a:pt x="0" y="73025"/>
                  </a:moveTo>
                  <a:lnTo>
                    <a:pt x="171450" y="0"/>
                  </a:lnTo>
                  <a:lnTo>
                    <a:pt x="551656" y="152400"/>
                  </a:lnTo>
                  <a:lnTo>
                    <a:pt x="371475" y="225425"/>
                  </a:lnTo>
                  <a:lnTo>
                    <a:pt x="0" y="73025"/>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gn="ctr" fontAlgn="auto">
                <a:spcBef>
                  <a:spcPts val="1100"/>
                </a:spcBef>
                <a:spcAft>
                  <a:spcPts val="0"/>
                </a:spcAft>
                <a:buClrTx/>
                <a:buSzTx/>
                <a:buFontTx/>
                <a:buNone/>
                <a:defRPr/>
              </a:pPr>
              <a:endParaRPr lang="de-DE" dirty="0">
                <a:solidFill>
                  <a:srgbClr val="000000"/>
                </a:solidFill>
                <a:latin typeface="+mj-lt"/>
              </a:endParaRPr>
            </a:p>
          </p:txBody>
        </p:sp>
        <p:sp>
          <p:nvSpPr>
            <p:cNvPr id="119" name="Legende mit Linie 1 (Markierungsleiste) 151">
              <a:extLst>
                <a:ext uri="{FF2B5EF4-FFF2-40B4-BE49-F238E27FC236}">
                  <a16:creationId xmlns:a16="http://schemas.microsoft.com/office/drawing/2014/main" id="{E71BD410-0D9F-4DAC-B288-12CC56752EF9}"/>
                </a:ext>
              </a:extLst>
            </p:cNvPr>
            <p:cNvSpPr/>
            <p:nvPr/>
          </p:nvSpPr>
          <p:spPr>
            <a:xfrm flipH="1">
              <a:off x="3383364" y="3563429"/>
              <a:ext cx="1039410" cy="488380"/>
            </a:xfrm>
            <a:prstGeom prst="accentCallout1">
              <a:avLst>
                <a:gd name="adj1" fmla="val 18750"/>
                <a:gd name="adj2" fmla="val -8333"/>
                <a:gd name="adj3" fmla="val -10910"/>
                <a:gd name="adj4" fmla="val -43921"/>
              </a:avLst>
            </a:prstGeom>
            <a:solidFill>
              <a:srgbClr val="FFFFFF">
                <a:alpha val="80000"/>
              </a:srgb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72000" tIns="36000" rIns="72000" bIns="36000" rtlCol="0" anchor="ctr">
              <a:spAutoFit/>
            </a:bodyPr>
            <a:lstStyle/>
            <a:p>
              <a:pPr algn="r"/>
              <a:r>
                <a:rPr lang="en-US" sz="1200" dirty="0">
                  <a:solidFill>
                    <a:srgbClr val="000000"/>
                  </a:solidFill>
                  <a:latin typeface="+mj-lt"/>
                </a:rPr>
                <a:t>Pumping Stations</a:t>
              </a:r>
            </a:p>
          </p:txBody>
        </p:sp>
      </p:grpSp>
    </p:spTree>
    <p:extLst>
      <p:ext uri="{BB962C8B-B14F-4D97-AF65-F5344CB8AC3E}">
        <p14:creationId xmlns:p14="http://schemas.microsoft.com/office/powerpoint/2010/main" val="96571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2E8A03-8CE3-47DB-B054-DF7A3DE4D9AB}"/>
              </a:ext>
            </a:extLst>
          </p:cNvPr>
          <p:cNvSpPr>
            <a:spLocks noGrp="1"/>
          </p:cNvSpPr>
          <p:nvPr>
            <p:ph type="title"/>
          </p:nvPr>
        </p:nvSpPr>
        <p:spPr/>
        <p:txBody>
          <a:bodyPr/>
          <a:lstStyle/>
          <a:p>
            <a:r>
              <a:rPr lang="en-US" altLang="zh-CN" dirty="0"/>
              <a:t>LST200 installation </a:t>
            </a:r>
            <a:endParaRPr lang="en-US" dirty="0"/>
          </a:p>
        </p:txBody>
      </p:sp>
      <p:sp>
        <p:nvSpPr>
          <p:cNvPr id="3" name="Footer Placeholder 2">
            <a:extLst>
              <a:ext uri="{FF2B5EF4-FFF2-40B4-BE49-F238E27FC236}">
                <a16:creationId xmlns:a16="http://schemas.microsoft.com/office/drawing/2014/main" id="{590B2E81-7A23-44C7-B150-2E0077865238}"/>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EF511F7D-1506-4CD1-8325-972C38113E27}"/>
              </a:ext>
            </a:extLst>
          </p:cNvPr>
          <p:cNvSpPr>
            <a:spLocks noGrp="1"/>
          </p:cNvSpPr>
          <p:nvPr>
            <p:ph type="dt" sz="half" idx="11"/>
          </p:nvPr>
        </p:nvSpPr>
        <p:spPr/>
        <p:txBody>
          <a:bodyPr/>
          <a:lstStyle/>
          <a:p>
            <a:fld id="{7E78DB5F-64D9-442E-954C-935C935B4142}" type="datetime4">
              <a:rPr lang="en-US" smtClean="0"/>
              <a:t>June 17, 2021</a:t>
            </a:fld>
            <a:endParaRPr lang="en-US" dirty="0"/>
          </a:p>
        </p:txBody>
      </p:sp>
      <p:sp>
        <p:nvSpPr>
          <p:cNvPr id="5" name="Slide Number Placeholder 4">
            <a:extLst>
              <a:ext uri="{FF2B5EF4-FFF2-40B4-BE49-F238E27FC236}">
                <a16:creationId xmlns:a16="http://schemas.microsoft.com/office/drawing/2014/main" id="{CA496B7B-3CB9-478C-9D70-BD8482B83A45}"/>
              </a:ext>
            </a:extLst>
          </p:cNvPr>
          <p:cNvSpPr>
            <a:spLocks noGrp="1"/>
          </p:cNvSpPr>
          <p:nvPr>
            <p:ph type="sldNum" sz="quarter" idx="12"/>
          </p:nvPr>
        </p:nvSpPr>
        <p:spPr/>
        <p:txBody>
          <a:bodyPr/>
          <a:lstStyle/>
          <a:p>
            <a:r>
              <a:rPr lang="en-US"/>
              <a:t>Slide </a:t>
            </a:r>
            <a:fld id="{619F89D8-7AE3-494A-97F3-03D680869632}" type="slidenum">
              <a:rPr lang="en-US" smtClean="0"/>
              <a:pPr/>
              <a:t>16</a:t>
            </a:fld>
            <a:endParaRPr lang="en-US" dirty="0"/>
          </a:p>
        </p:txBody>
      </p:sp>
      <p:sp>
        <p:nvSpPr>
          <p:cNvPr id="6" name="Text Placeholder 5">
            <a:extLst>
              <a:ext uri="{FF2B5EF4-FFF2-40B4-BE49-F238E27FC236}">
                <a16:creationId xmlns:a16="http://schemas.microsoft.com/office/drawing/2014/main" id="{C39F6174-0765-4569-A0B9-34CA25063B90}"/>
              </a:ext>
            </a:extLst>
          </p:cNvPr>
          <p:cNvSpPr>
            <a:spLocks noGrp="1"/>
          </p:cNvSpPr>
          <p:nvPr>
            <p:ph type="body" sz="quarter" idx="16"/>
          </p:nvPr>
        </p:nvSpPr>
        <p:spPr/>
        <p:txBody>
          <a:bodyPr/>
          <a:lstStyle/>
          <a:p>
            <a:r>
              <a:rPr lang="en-US" dirty="0"/>
              <a:t>2-wire device with 4~20mA output</a:t>
            </a:r>
          </a:p>
        </p:txBody>
      </p:sp>
      <p:sp>
        <p:nvSpPr>
          <p:cNvPr id="8" name="Content Placeholder 7">
            <a:extLst>
              <a:ext uri="{FF2B5EF4-FFF2-40B4-BE49-F238E27FC236}">
                <a16:creationId xmlns:a16="http://schemas.microsoft.com/office/drawing/2014/main" id="{6315EF6B-E319-49BF-92E8-79A2001DE26C}"/>
              </a:ext>
            </a:extLst>
          </p:cNvPr>
          <p:cNvSpPr>
            <a:spLocks noGrp="1"/>
          </p:cNvSpPr>
          <p:nvPr>
            <p:ph sz="quarter" idx="19"/>
          </p:nvPr>
        </p:nvSpPr>
        <p:spPr/>
        <p:txBody>
          <a:bodyPr/>
          <a:lstStyle/>
          <a:p>
            <a:r>
              <a:rPr lang="en-US" b="1" dirty="0"/>
              <a:t>Terminals</a:t>
            </a:r>
            <a:br>
              <a:rPr lang="en-US" dirty="0"/>
            </a:br>
            <a:r>
              <a:rPr lang="en-US" dirty="0"/>
              <a:t>Max. cable cross section:  1.5 mm2 (AWG 16)</a:t>
            </a:r>
          </a:p>
          <a:p>
            <a:br>
              <a:rPr lang="en-US" dirty="0"/>
            </a:br>
            <a:r>
              <a:rPr lang="en-US" b="1" dirty="0"/>
              <a:t>Power supply</a:t>
            </a:r>
            <a:br>
              <a:rPr lang="en-US" dirty="0"/>
            </a:br>
            <a:r>
              <a:rPr lang="en-US" dirty="0"/>
              <a:t>LST200-Basic: 15 to 30 VDC.</a:t>
            </a:r>
            <a:br>
              <a:rPr lang="en-US" dirty="0"/>
            </a:br>
            <a:r>
              <a:rPr lang="en-US" dirty="0"/>
              <a:t>LST200-LCD: 19 to 30 VDC. </a:t>
            </a:r>
          </a:p>
          <a:p>
            <a:br>
              <a:rPr lang="en-US" dirty="0"/>
            </a:br>
            <a:r>
              <a:rPr lang="en-US" b="1" dirty="0"/>
              <a:t>Power consumption</a:t>
            </a:r>
            <a:br>
              <a:rPr lang="en-US" dirty="0"/>
            </a:br>
            <a:r>
              <a:rPr lang="en-US" dirty="0"/>
              <a:t>60mW to 600mW</a:t>
            </a:r>
          </a:p>
          <a:p>
            <a:br>
              <a:rPr lang="en-US" dirty="0"/>
            </a:br>
            <a:r>
              <a:rPr lang="en-US" b="1" dirty="0"/>
              <a:t>Analog output</a:t>
            </a:r>
            <a:br>
              <a:rPr lang="en-US" dirty="0"/>
            </a:br>
            <a:r>
              <a:rPr lang="en-US" dirty="0"/>
              <a:t>Two-Wire output: 4 to 20 mA related to level/distance/volume/flow, full compensation for temperature effects</a:t>
            </a:r>
          </a:p>
        </p:txBody>
      </p:sp>
      <p:sp>
        <p:nvSpPr>
          <p:cNvPr id="9" name="Subtitle 8">
            <a:extLst>
              <a:ext uri="{FF2B5EF4-FFF2-40B4-BE49-F238E27FC236}">
                <a16:creationId xmlns:a16="http://schemas.microsoft.com/office/drawing/2014/main" id="{D048B985-DD6A-4B5E-A2D2-8DC4DCE9F00D}"/>
              </a:ext>
            </a:extLst>
          </p:cNvPr>
          <p:cNvSpPr>
            <a:spLocks noGrp="1"/>
          </p:cNvSpPr>
          <p:nvPr>
            <p:ph type="subTitle" idx="13"/>
          </p:nvPr>
        </p:nvSpPr>
        <p:spPr/>
        <p:txBody>
          <a:bodyPr/>
          <a:lstStyle/>
          <a:p>
            <a:r>
              <a:rPr lang="en-US" dirty="0"/>
              <a:t>To connect the LST200 instrument </a:t>
            </a:r>
          </a:p>
        </p:txBody>
      </p:sp>
      <p:pic>
        <p:nvPicPr>
          <p:cNvPr id="21" name="Picture 20">
            <a:extLst>
              <a:ext uri="{FF2B5EF4-FFF2-40B4-BE49-F238E27FC236}">
                <a16:creationId xmlns:a16="http://schemas.microsoft.com/office/drawing/2014/main" id="{878ED52C-749C-4B44-843C-12D97C1FE109}"/>
              </a:ext>
            </a:extLst>
          </p:cNvPr>
          <p:cNvPicPr>
            <a:picLocks noChangeAspect="1"/>
          </p:cNvPicPr>
          <p:nvPr/>
        </p:nvPicPr>
        <p:blipFill>
          <a:blip r:embed="rId3"/>
          <a:stretch>
            <a:fillRect/>
          </a:stretch>
        </p:blipFill>
        <p:spPr>
          <a:xfrm>
            <a:off x="6095999" y="2465319"/>
            <a:ext cx="4229467" cy="2728196"/>
          </a:xfrm>
          <a:prstGeom prst="rect">
            <a:avLst/>
          </a:prstGeom>
        </p:spPr>
      </p:pic>
    </p:spTree>
    <p:extLst>
      <p:ext uri="{BB962C8B-B14F-4D97-AF65-F5344CB8AC3E}">
        <p14:creationId xmlns:p14="http://schemas.microsoft.com/office/powerpoint/2010/main" val="1956500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A6CD40D-935E-4242-9923-EBC1594AF9EA}"/>
              </a:ext>
            </a:extLst>
          </p:cNvPr>
          <p:cNvSpPr>
            <a:spLocks noGrp="1"/>
          </p:cNvSpPr>
          <p:nvPr>
            <p:ph type="title"/>
          </p:nvPr>
        </p:nvSpPr>
        <p:spPr/>
        <p:txBody>
          <a:bodyPr/>
          <a:lstStyle/>
          <a:p>
            <a:r>
              <a:rPr lang="en-US" altLang="zh-CN" dirty="0"/>
              <a:t>LST200 installation </a:t>
            </a:r>
            <a:endParaRPr lang="en-US" dirty="0"/>
          </a:p>
        </p:txBody>
      </p:sp>
      <p:sp>
        <p:nvSpPr>
          <p:cNvPr id="5" name="Footer Placeholder 4">
            <a:extLst>
              <a:ext uri="{FF2B5EF4-FFF2-40B4-BE49-F238E27FC236}">
                <a16:creationId xmlns:a16="http://schemas.microsoft.com/office/drawing/2014/main" id="{53A5675E-129C-49F3-9F6A-D2E6C9A9C437}"/>
              </a:ext>
            </a:extLst>
          </p:cNvPr>
          <p:cNvSpPr>
            <a:spLocks noGrp="1"/>
          </p:cNvSpPr>
          <p:nvPr>
            <p:ph type="ftr" sz="quarter" idx="10"/>
          </p:nvPr>
        </p:nvSpPr>
        <p:spPr/>
        <p:txBody>
          <a:bodyPr/>
          <a:lstStyle/>
          <a:p>
            <a:pPr lvl="8"/>
            <a:endParaRPr lang="en-US"/>
          </a:p>
        </p:txBody>
      </p:sp>
      <p:sp>
        <p:nvSpPr>
          <p:cNvPr id="6" name="Slide Number Placeholder 5">
            <a:extLst>
              <a:ext uri="{FF2B5EF4-FFF2-40B4-BE49-F238E27FC236}">
                <a16:creationId xmlns:a16="http://schemas.microsoft.com/office/drawing/2014/main" id="{10B128A5-21FA-4178-A16A-B43F614C4F37}"/>
              </a:ext>
            </a:extLst>
          </p:cNvPr>
          <p:cNvSpPr>
            <a:spLocks noGrp="1"/>
          </p:cNvSpPr>
          <p:nvPr>
            <p:ph type="sldNum" sz="quarter" idx="12"/>
          </p:nvPr>
        </p:nvSpPr>
        <p:spPr/>
        <p:txBody>
          <a:bodyPr/>
          <a:lstStyle/>
          <a:p>
            <a:r>
              <a:rPr lang="en-US"/>
              <a:t>Slide </a:t>
            </a:r>
            <a:fld id="{619F89D8-7AE3-494A-97F3-03D680869632}" type="slidenum">
              <a:rPr lang="en-US" smtClean="0"/>
              <a:pPr/>
              <a:t>17</a:t>
            </a:fld>
            <a:endParaRPr lang="en-US"/>
          </a:p>
        </p:txBody>
      </p:sp>
      <p:sp>
        <p:nvSpPr>
          <p:cNvPr id="10" name="Text Placeholder 9">
            <a:extLst>
              <a:ext uri="{FF2B5EF4-FFF2-40B4-BE49-F238E27FC236}">
                <a16:creationId xmlns:a16="http://schemas.microsoft.com/office/drawing/2014/main" id="{5C7F7938-2D2C-47F4-A881-0AD6111F9881}"/>
              </a:ext>
            </a:extLst>
          </p:cNvPr>
          <p:cNvSpPr>
            <a:spLocks noGrp="1"/>
          </p:cNvSpPr>
          <p:nvPr>
            <p:ph type="body" sz="quarter" idx="16"/>
          </p:nvPr>
        </p:nvSpPr>
        <p:spPr/>
        <p:txBody>
          <a:bodyPr/>
          <a:lstStyle/>
          <a:p>
            <a:r>
              <a:rPr lang="en-US" dirty="0"/>
              <a:t>Storage vessel</a:t>
            </a:r>
          </a:p>
        </p:txBody>
      </p:sp>
      <p:sp>
        <p:nvSpPr>
          <p:cNvPr id="11" name="Text Placeholder 10">
            <a:extLst>
              <a:ext uri="{FF2B5EF4-FFF2-40B4-BE49-F238E27FC236}">
                <a16:creationId xmlns:a16="http://schemas.microsoft.com/office/drawing/2014/main" id="{D7DA90C4-C6CB-44AE-8C03-DA0AA0832E4B}"/>
              </a:ext>
            </a:extLst>
          </p:cNvPr>
          <p:cNvSpPr>
            <a:spLocks noGrp="1"/>
          </p:cNvSpPr>
          <p:nvPr>
            <p:ph type="body" sz="quarter" idx="17"/>
          </p:nvPr>
        </p:nvSpPr>
        <p:spPr/>
        <p:txBody>
          <a:bodyPr/>
          <a:lstStyle/>
          <a:p>
            <a:r>
              <a:rPr lang="en-US" dirty="0"/>
              <a:t>Open basin or channel</a:t>
            </a:r>
          </a:p>
        </p:txBody>
      </p:sp>
      <p:sp>
        <p:nvSpPr>
          <p:cNvPr id="13" name="Content Placeholder 12">
            <a:extLst>
              <a:ext uri="{FF2B5EF4-FFF2-40B4-BE49-F238E27FC236}">
                <a16:creationId xmlns:a16="http://schemas.microsoft.com/office/drawing/2014/main" id="{7289DDBF-9ECB-45BE-BDAC-037B18448E88}"/>
              </a:ext>
            </a:extLst>
          </p:cNvPr>
          <p:cNvSpPr>
            <a:spLocks noGrp="1"/>
          </p:cNvSpPr>
          <p:nvPr>
            <p:ph sz="quarter" idx="20"/>
          </p:nvPr>
        </p:nvSpPr>
        <p:spPr>
          <a:xfrm>
            <a:off x="6249108" y="2317638"/>
            <a:ext cx="2884260" cy="3594474"/>
          </a:xfrm>
        </p:spPr>
        <p:txBody>
          <a:bodyPr/>
          <a:lstStyle/>
          <a:p>
            <a:r>
              <a:rPr lang="en-US" dirty="0"/>
              <a:t>Installing over the open channel or basin </a:t>
            </a:r>
            <a:r>
              <a:rPr lang="en-US" altLang="zh-CN" dirty="0"/>
              <a:t>are one of the most common applications for Ultrasonic level transmitter</a:t>
            </a:r>
          </a:p>
          <a:p>
            <a:r>
              <a:rPr lang="en-US" dirty="0"/>
              <a:t>An extended  mounting bracket is required to ensure the instrument far away from walls and other obstacles like pipes and  brackets</a:t>
            </a:r>
          </a:p>
        </p:txBody>
      </p:sp>
      <p:sp>
        <p:nvSpPr>
          <p:cNvPr id="12" name="Content Placeholder 11">
            <a:extLst>
              <a:ext uri="{FF2B5EF4-FFF2-40B4-BE49-F238E27FC236}">
                <a16:creationId xmlns:a16="http://schemas.microsoft.com/office/drawing/2014/main" id="{329EE664-0619-4E93-8D46-96C39D135062}"/>
              </a:ext>
            </a:extLst>
          </p:cNvPr>
          <p:cNvSpPr>
            <a:spLocks noGrp="1"/>
          </p:cNvSpPr>
          <p:nvPr>
            <p:ph sz="quarter" idx="19"/>
          </p:nvPr>
        </p:nvSpPr>
        <p:spPr>
          <a:xfrm>
            <a:off x="332367" y="2317638"/>
            <a:ext cx="3533002" cy="3594474"/>
          </a:xfrm>
        </p:spPr>
        <p:txBody>
          <a:bodyPr/>
          <a:lstStyle/>
          <a:p>
            <a:r>
              <a:rPr lang="en-US" dirty="0"/>
              <a:t>Storage vessels may have complicated</a:t>
            </a:r>
            <a:r>
              <a:rPr lang="en-US" altLang="zh-CN" dirty="0"/>
              <a:t> inside</a:t>
            </a:r>
            <a:r>
              <a:rPr lang="en-US" dirty="0"/>
              <a:t> structures which may block the way of ultrasound.</a:t>
            </a:r>
          </a:p>
          <a:p>
            <a:r>
              <a:rPr lang="en-US" dirty="0"/>
              <a:t>The mounting position should be considered to avoid possible obstacles within the LST200’s beam angle (10°)</a:t>
            </a:r>
          </a:p>
          <a:p>
            <a:r>
              <a:rPr lang="en-US" dirty="0"/>
              <a:t>An ultrasound guide pipe may be required if the structure was too complicated to be avoided </a:t>
            </a:r>
          </a:p>
        </p:txBody>
      </p:sp>
      <p:sp>
        <p:nvSpPr>
          <p:cNvPr id="9" name="Subtitle 8">
            <a:extLst>
              <a:ext uri="{FF2B5EF4-FFF2-40B4-BE49-F238E27FC236}">
                <a16:creationId xmlns:a16="http://schemas.microsoft.com/office/drawing/2014/main" id="{E6F77EEC-4FB5-4EBE-AF67-7287BF552D59}"/>
              </a:ext>
            </a:extLst>
          </p:cNvPr>
          <p:cNvSpPr>
            <a:spLocks noGrp="1"/>
          </p:cNvSpPr>
          <p:nvPr>
            <p:ph type="subTitle" idx="13"/>
          </p:nvPr>
        </p:nvSpPr>
        <p:spPr/>
        <p:txBody>
          <a:bodyPr/>
          <a:lstStyle/>
          <a:p>
            <a:r>
              <a:rPr lang="en-US" dirty="0"/>
              <a:t>Typical installations</a:t>
            </a:r>
          </a:p>
        </p:txBody>
      </p:sp>
      <p:pic>
        <p:nvPicPr>
          <p:cNvPr id="3" name="Picture 2" descr="A picture containing outdoor, fence, water, yellow&#10;&#10;Description automatically generated">
            <a:extLst>
              <a:ext uri="{FF2B5EF4-FFF2-40B4-BE49-F238E27FC236}">
                <a16:creationId xmlns:a16="http://schemas.microsoft.com/office/drawing/2014/main" id="{225F299A-D33C-499B-AF79-3C70090E430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480644" y="2525173"/>
            <a:ext cx="2174718" cy="2884973"/>
          </a:xfrm>
          <a:prstGeom prst="rect">
            <a:avLst/>
          </a:prstGeom>
        </p:spPr>
      </p:pic>
      <p:pic>
        <p:nvPicPr>
          <p:cNvPr id="19" name="Picture 18">
            <a:extLst>
              <a:ext uri="{FF2B5EF4-FFF2-40B4-BE49-F238E27FC236}">
                <a16:creationId xmlns:a16="http://schemas.microsoft.com/office/drawing/2014/main" id="{24082224-3E75-454E-9B2C-F8629C4BEB4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5655"/>
          <a:stretch/>
        </p:blipFill>
        <p:spPr>
          <a:xfrm>
            <a:off x="3983957" y="2685155"/>
            <a:ext cx="1917875" cy="2913005"/>
          </a:xfrm>
          <a:prstGeom prst="rect">
            <a:avLst/>
          </a:prstGeom>
        </p:spPr>
      </p:pic>
    </p:spTree>
    <p:extLst>
      <p:ext uri="{BB962C8B-B14F-4D97-AF65-F5344CB8AC3E}">
        <p14:creationId xmlns:p14="http://schemas.microsoft.com/office/powerpoint/2010/main" val="1725348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2436E-E2F1-4798-9CD2-17F656327B90}"/>
              </a:ext>
            </a:extLst>
          </p:cNvPr>
          <p:cNvSpPr>
            <a:spLocks noGrp="1"/>
          </p:cNvSpPr>
          <p:nvPr>
            <p:ph type="title"/>
          </p:nvPr>
        </p:nvSpPr>
        <p:spPr/>
        <p:txBody>
          <a:bodyPr/>
          <a:lstStyle/>
          <a:p>
            <a:r>
              <a:rPr lang="en-US" altLang="zh-CN" dirty="0"/>
              <a:t>LST200 applications</a:t>
            </a:r>
            <a:endParaRPr lang="en-US" dirty="0"/>
          </a:p>
        </p:txBody>
      </p:sp>
      <p:sp>
        <p:nvSpPr>
          <p:cNvPr id="3" name="Footer Placeholder 2">
            <a:extLst>
              <a:ext uri="{FF2B5EF4-FFF2-40B4-BE49-F238E27FC236}">
                <a16:creationId xmlns:a16="http://schemas.microsoft.com/office/drawing/2014/main" id="{43B240C9-795E-46FB-9E9A-772EEB000F48}"/>
              </a:ext>
            </a:extLst>
          </p:cNvPr>
          <p:cNvSpPr>
            <a:spLocks noGrp="1"/>
          </p:cNvSpPr>
          <p:nvPr>
            <p:ph type="ftr" sz="quarter" idx="10"/>
          </p:nvPr>
        </p:nvSpPr>
        <p:spPr/>
        <p:txBody>
          <a:bodyPr/>
          <a:lstStyle/>
          <a:p>
            <a:pPr lvl="8"/>
            <a:endParaRPr lang="en-US"/>
          </a:p>
        </p:txBody>
      </p:sp>
      <p:sp>
        <p:nvSpPr>
          <p:cNvPr id="5" name="Slide Number Placeholder 4">
            <a:extLst>
              <a:ext uri="{FF2B5EF4-FFF2-40B4-BE49-F238E27FC236}">
                <a16:creationId xmlns:a16="http://schemas.microsoft.com/office/drawing/2014/main" id="{0D920F75-ABB6-4357-923C-EE2215EB1CBA}"/>
              </a:ext>
            </a:extLst>
          </p:cNvPr>
          <p:cNvSpPr>
            <a:spLocks noGrp="1"/>
          </p:cNvSpPr>
          <p:nvPr>
            <p:ph type="sldNum" sz="quarter" idx="12"/>
          </p:nvPr>
        </p:nvSpPr>
        <p:spPr/>
        <p:txBody>
          <a:bodyPr/>
          <a:lstStyle/>
          <a:p>
            <a:r>
              <a:rPr lang="en-US"/>
              <a:t>Slide </a:t>
            </a:r>
            <a:fld id="{619F89D8-7AE3-494A-97F3-03D680869632}" type="slidenum">
              <a:rPr lang="en-US" smtClean="0"/>
              <a:pPr/>
              <a:t>18</a:t>
            </a:fld>
            <a:endParaRPr lang="en-US"/>
          </a:p>
        </p:txBody>
      </p:sp>
      <p:sp>
        <p:nvSpPr>
          <p:cNvPr id="15" name="Text Placeholder 14">
            <a:extLst>
              <a:ext uri="{FF2B5EF4-FFF2-40B4-BE49-F238E27FC236}">
                <a16:creationId xmlns:a16="http://schemas.microsoft.com/office/drawing/2014/main" id="{D62A2587-D783-49C8-A28C-969AB607CD09}"/>
              </a:ext>
            </a:extLst>
          </p:cNvPr>
          <p:cNvSpPr>
            <a:spLocks noGrp="1"/>
          </p:cNvSpPr>
          <p:nvPr>
            <p:ph type="body" sz="quarter" idx="16"/>
          </p:nvPr>
        </p:nvSpPr>
        <p:spPr/>
        <p:txBody>
          <a:bodyPr/>
          <a:lstStyle/>
          <a:p>
            <a:r>
              <a:rPr lang="en-US" altLang="zh-CN" dirty="0"/>
              <a:t>General guideline</a:t>
            </a:r>
          </a:p>
        </p:txBody>
      </p:sp>
      <p:sp>
        <p:nvSpPr>
          <p:cNvPr id="7" name="Content Placeholder 6">
            <a:extLst>
              <a:ext uri="{FF2B5EF4-FFF2-40B4-BE49-F238E27FC236}">
                <a16:creationId xmlns:a16="http://schemas.microsoft.com/office/drawing/2014/main" id="{8A8DB003-CE2D-484B-A35B-82EECC138050}"/>
              </a:ext>
            </a:extLst>
          </p:cNvPr>
          <p:cNvSpPr>
            <a:spLocks noGrp="1"/>
          </p:cNvSpPr>
          <p:nvPr>
            <p:ph sz="quarter" idx="19"/>
          </p:nvPr>
        </p:nvSpPr>
        <p:spPr>
          <a:xfrm>
            <a:off x="333263" y="2317640"/>
            <a:ext cx="4093767" cy="3594475"/>
          </a:xfrm>
        </p:spPr>
        <p:txBody>
          <a:bodyPr/>
          <a:lstStyle/>
          <a:p>
            <a:r>
              <a:rPr lang="en-US" altLang="zh-CN" dirty="0"/>
              <a:t>Before installation, evaluate and try to avoid obstructions within the detection range “</a:t>
            </a:r>
            <a:r>
              <a:rPr lang="el-GR" altLang="zh-CN" dirty="0"/>
              <a:t>α</a:t>
            </a:r>
            <a:r>
              <a:rPr lang="en-US" altLang="zh-CN" dirty="0"/>
              <a:t>”</a:t>
            </a:r>
          </a:p>
          <a:p>
            <a:r>
              <a:rPr lang="en-US" altLang="zh-CN" dirty="0"/>
              <a:t>Select a proper nozzle or pipe as suggested </a:t>
            </a:r>
          </a:p>
          <a:p>
            <a:r>
              <a:rPr lang="en-US" altLang="zh-CN" dirty="0"/>
              <a:t>Anti-water pad (like the surface of lotus leaves)is recommended if there were heavy vapor in the tank</a:t>
            </a:r>
          </a:p>
          <a:p>
            <a:r>
              <a:rPr lang="en-US" altLang="zh-CN" dirty="0"/>
              <a:t>Set the empty distance and span</a:t>
            </a:r>
          </a:p>
        </p:txBody>
      </p:sp>
      <p:sp>
        <p:nvSpPr>
          <p:cNvPr id="14" name="Subtitle 13">
            <a:extLst>
              <a:ext uri="{FF2B5EF4-FFF2-40B4-BE49-F238E27FC236}">
                <a16:creationId xmlns:a16="http://schemas.microsoft.com/office/drawing/2014/main" id="{C9294AFE-CB24-461B-9CDB-618C609B8619}"/>
              </a:ext>
            </a:extLst>
          </p:cNvPr>
          <p:cNvSpPr>
            <a:spLocks noGrp="1"/>
          </p:cNvSpPr>
          <p:nvPr>
            <p:ph type="subTitle" idx="13"/>
          </p:nvPr>
        </p:nvSpPr>
        <p:spPr/>
        <p:txBody>
          <a:bodyPr/>
          <a:lstStyle/>
          <a:p>
            <a:r>
              <a:rPr lang="en-US" altLang="zh-CN" dirty="0"/>
              <a:t>Typical tank measurement</a:t>
            </a:r>
            <a:endParaRPr lang="en-US" dirty="0"/>
          </a:p>
        </p:txBody>
      </p:sp>
      <p:pic>
        <p:nvPicPr>
          <p:cNvPr id="10" name="Picture 9">
            <a:extLst>
              <a:ext uri="{FF2B5EF4-FFF2-40B4-BE49-F238E27FC236}">
                <a16:creationId xmlns:a16="http://schemas.microsoft.com/office/drawing/2014/main" id="{004C2B3B-0B61-48C7-8930-530AFF13B8F7}"/>
              </a:ext>
            </a:extLst>
          </p:cNvPr>
          <p:cNvPicPr>
            <a:picLocks noChangeAspect="1"/>
          </p:cNvPicPr>
          <p:nvPr/>
        </p:nvPicPr>
        <p:blipFill>
          <a:blip r:embed="rId3"/>
          <a:stretch>
            <a:fillRect/>
          </a:stretch>
        </p:blipFill>
        <p:spPr>
          <a:xfrm>
            <a:off x="4807479" y="1986576"/>
            <a:ext cx="6904344" cy="4118680"/>
          </a:xfrm>
          <a:prstGeom prst="rect">
            <a:avLst/>
          </a:prstGeom>
        </p:spPr>
      </p:pic>
    </p:spTree>
    <p:extLst>
      <p:ext uri="{BB962C8B-B14F-4D97-AF65-F5344CB8AC3E}">
        <p14:creationId xmlns:p14="http://schemas.microsoft.com/office/powerpoint/2010/main" val="145903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D01C4-A447-4EB3-9476-4FF8129B17F8}"/>
              </a:ext>
            </a:extLst>
          </p:cNvPr>
          <p:cNvSpPr>
            <a:spLocks noGrp="1"/>
          </p:cNvSpPr>
          <p:nvPr>
            <p:ph type="title"/>
          </p:nvPr>
        </p:nvSpPr>
        <p:spPr/>
        <p:txBody>
          <a:bodyPr/>
          <a:lstStyle/>
          <a:p>
            <a:r>
              <a:rPr lang="en-US" altLang="zh-CN" dirty="0"/>
              <a:t>LST200 applications</a:t>
            </a:r>
            <a:endParaRPr lang="en-US" dirty="0"/>
          </a:p>
        </p:txBody>
      </p:sp>
      <p:sp>
        <p:nvSpPr>
          <p:cNvPr id="3" name="Footer Placeholder 2">
            <a:extLst>
              <a:ext uri="{FF2B5EF4-FFF2-40B4-BE49-F238E27FC236}">
                <a16:creationId xmlns:a16="http://schemas.microsoft.com/office/drawing/2014/main" id="{1E75F521-5FB9-4C47-86A0-CD951E4F79E4}"/>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3A71BB62-F88C-44E9-942B-80A88776F726}"/>
              </a:ext>
            </a:extLst>
          </p:cNvPr>
          <p:cNvSpPr>
            <a:spLocks noGrp="1"/>
          </p:cNvSpPr>
          <p:nvPr>
            <p:ph type="dt" sz="half" idx="11"/>
          </p:nvPr>
        </p:nvSpPr>
        <p:spPr/>
        <p:txBody>
          <a:bodyPr/>
          <a:lstStyle/>
          <a:p>
            <a:fld id="{7E78DB5F-64D9-442E-954C-935C935B4142}" type="datetime4">
              <a:rPr lang="en-US" smtClean="0"/>
              <a:t>June 17, 2021</a:t>
            </a:fld>
            <a:endParaRPr lang="en-US" dirty="0"/>
          </a:p>
        </p:txBody>
      </p:sp>
      <p:sp>
        <p:nvSpPr>
          <p:cNvPr id="5" name="Slide Number Placeholder 4">
            <a:extLst>
              <a:ext uri="{FF2B5EF4-FFF2-40B4-BE49-F238E27FC236}">
                <a16:creationId xmlns:a16="http://schemas.microsoft.com/office/drawing/2014/main" id="{FC1F983F-9728-41C4-8293-77255FAE22A1}"/>
              </a:ext>
            </a:extLst>
          </p:cNvPr>
          <p:cNvSpPr>
            <a:spLocks noGrp="1"/>
          </p:cNvSpPr>
          <p:nvPr>
            <p:ph type="sldNum" sz="quarter" idx="12"/>
          </p:nvPr>
        </p:nvSpPr>
        <p:spPr/>
        <p:txBody>
          <a:bodyPr/>
          <a:lstStyle/>
          <a:p>
            <a:r>
              <a:rPr lang="en-US"/>
              <a:t>Slide </a:t>
            </a:r>
            <a:fld id="{619F89D8-7AE3-494A-97F3-03D680869632}" type="slidenum">
              <a:rPr lang="en-US" smtClean="0"/>
              <a:pPr/>
              <a:t>19</a:t>
            </a:fld>
            <a:endParaRPr lang="en-US" dirty="0"/>
          </a:p>
        </p:txBody>
      </p:sp>
      <p:sp>
        <p:nvSpPr>
          <p:cNvPr id="6" name="Text Placeholder 5">
            <a:extLst>
              <a:ext uri="{FF2B5EF4-FFF2-40B4-BE49-F238E27FC236}">
                <a16:creationId xmlns:a16="http://schemas.microsoft.com/office/drawing/2014/main" id="{B96741AD-9410-4F52-9BE8-038F3599E3D8}"/>
              </a:ext>
            </a:extLst>
          </p:cNvPr>
          <p:cNvSpPr>
            <a:spLocks noGrp="1"/>
          </p:cNvSpPr>
          <p:nvPr>
            <p:ph type="body" sz="quarter" idx="16"/>
          </p:nvPr>
        </p:nvSpPr>
        <p:spPr/>
        <p:txBody>
          <a:bodyPr/>
          <a:lstStyle/>
          <a:p>
            <a:r>
              <a:rPr lang="en-US" dirty="0"/>
              <a:t>Challenge and solution </a:t>
            </a:r>
          </a:p>
        </p:txBody>
      </p:sp>
      <p:sp>
        <p:nvSpPr>
          <p:cNvPr id="8" name="Content Placeholder 7">
            <a:extLst>
              <a:ext uri="{FF2B5EF4-FFF2-40B4-BE49-F238E27FC236}">
                <a16:creationId xmlns:a16="http://schemas.microsoft.com/office/drawing/2014/main" id="{3F82FFBB-0192-4333-9FDC-372F1ACA58DE}"/>
              </a:ext>
            </a:extLst>
          </p:cNvPr>
          <p:cNvSpPr>
            <a:spLocks noGrp="1"/>
          </p:cNvSpPr>
          <p:nvPr>
            <p:ph sz="quarter" idx="19"/>
          </p:nvPr>
        </p:nvSpPr>
        <p:spPr/>
        <p:txBody>
          <a:bodyPr/>
          <a:lstStyle/>
          <a:p>
            <a:r>
              <a:rPr lang="en-US" dirty="0"/>
              <a:t>Narrow space with obstacles like ladders—Try to install in the middle of the space , a sound guide pipe may be needed if the structure is too complicate</a:t>
            </a:r>
          </a:p>
          <a:p>
            <a:endParaRPr lang="en-US" dirty="0"/>
          </a:p>
          <a:p>
            <a:r>
              <a:rPr lang="en-US" dirty="0"/>
              <a:t>High humidity and water would condensate </a:t>
            </a:r>
            <a:r>
              <a:rPr lang="en-US" altLang="zh-CN" dirty="0"/>
              <a:t>——IP68 with patented  active surface</a:t>
            </a:r>
            <a:endParaRPr lang="en-US" dirty="0"/>
          </a:p>
          <a:p>
            <a:endParaRPr lang="en-US" dirty="0"/>
          </a:p>
          <a:p>
            <a:r>
              <a:rPr lang="en-US" dirty="0"/>
              <a:t>Dark area, hard  for installation</a:t>
            </a:r>
            <a:r>
              <a:rPr lang="en-US" altLang="zh-CN" dirty="0"/>
              <a:t>—— blue backlit and easy setup menu, FIM tool for batch setup</a:t>
            </a:r>
          </a:p>
          <a:p>
            <a:endParaRPr lang="en-US" altLang="zh-CN" dirty="0"/>
          </a:p>
          <a:p>
            <a:r>
              <a:rPr lang="en-US" altLang="zh-CN" dirty="0"/>
              <a:t>Turbulence—GAP stabilizer and noise filter</a:t>
            </a:r>
            <a:endParaRPr lang="en-US" dirty="0"/>
          </a:p>
        </p:txBody>
      </p:sp>
      <p:sp>
        <p:nvSpPr>
          <p:cNvPr id="9" name="Subtitle 8">
            <a:extLst>
              <a:ext uri="{FF2B5EF4-FFF2-40B4-BE49-F238E27FC236}">
                <a16:creationId xmlns:a16="http://schemas.microsoft.com/office/drawing/2014/main" id="{573968F7-6145-4EE8-B462-2D03209C3884}"/>
              </a:ext>
            </a:extLst>
          </p:cNvPr>
          <p:cNvSpPr>
            <a:spLocks noGrp="1"/>
          </p:cNvSpPr>
          <p:nvPr>
            <p:ph type="subTitle" idx="13"/>
          </p:nvPr>
        </p:nvSpPr>
        <p:spPr/>
        <p:txBody>
          <a:bodyPr/>
          <a:lstStyle/>
          <a:p>
            <a:r>
              <a:rPr lang="en-US" altLang="zh-CN" dirty="0"/>
              <a:t>700 Units---Municipal underground water monitor- s</a:t>
            </a:r>
            <a:r>
              <a:rPr lang="en-US" dirty="0"/>
              <a:t>uccessful story</a:t>
            </a:r>
          </a:p>
          <a:p>
            <a:endParaRPr lang="en-US" dirty="0"/>
          </a:p>
        </p:txBody>
      </p:sp>
      <p:pic>
        <p:nvPicPr>
          <p:cNvPr id="13" name="Picture 12">
            <a:extLst>
              <a:ext uri="{FF2B5EF4-FFF2-40B4-BE49-F238E27FC236}">
                <a16:creationId xmlns:a16="http://schemas.microsoft.com/office/drawing/2014/main" id="{D8C5D13B-DF4C-452E-BF67-986A1F9AF252}"/>
              </a:ext>
            </a:extLst>
          </p:cNvPr>
          <p:cNvPicPr>
            <a:picLocks noChangeAspect="1"/>
          </p:cNvPicPr>
          <p:nvPr/>
        </p:nvPicPr>
        <p:blipFill>
          <a:blip r:embed="rId2"/>
          <a:stretch>
            <a:fillRect/>
          </a:stretch>
        </p:blipFill>
        <p:spPr>
          <a:xfrm>
            <a:off x="6149359" y="1757623"/>
            <a:ext cx="2725989" cy="4154492"/>
          </a:xfrm>
          <a:prstGeom prst="rect">
            <a:avLst/>
          </a:prstGeom>
        </p:spPr>
      </p:pic>
      <p:grpSp>
        <p:nvGrpSpPr>
          <p:cNvPr id="16" name="Group 15">
            <a:extLst>
              <a:ext uri="{FF2B5EF4-FFF2-40B4-BE49-F238E27FC236}">
                <a16:creationId xmlns:a16="http://schemas.microsoft.com/office/drawing/2014/main" id="{20460634-994A-44A6-9BF1-FD64FDC20592}"/>
              </a:ext>
            </a:extLst>
          </p:cNvPr>
          <p:cNvGrpSpPr/>
          <p:nvPr/>
        </p:nvGrpSpPr>
        <p:grpSpPr>
          <a:xfrm>
            <a:off x="5962242" y="3171231"/>
            <a:ext cx="3347596" cy="2071685"/>
            <a:chOff x="8702890" y="2806616"/>
            <a:chExt cx="3347596" cy="2071685"/>
          </a:xfrm>
        </p:grpSpPr>
        <p:pic>
          <p:nvPicPr>
            <p:cNvPr id="14" name="Content Placeholder 13" descr="A picture containing indoor, butter&#10;&#10;Description automatically generated">
              <a:extLst>
                <a:ext uri="{FF2B5EF4-FFF2-40B4-BE49-F238E27FC236}">
                  <a16:creationId xmlns:a16="http://schemas.microsoft.com/office/drawing/2014/main" id="{FA4E9459-7E0C-4D9A-A372-499F6C0B0A3C}"/>
                </a:ext>
              </a:extLst>
            </p:cNvPr>
            <p:cNvPicPr>
              <a:picLocks noChangeAspect="1"/>
            </p:cNvPicPr>
            <p:nvPr/>
          </p:nvPicPr>
          <p:blipFill rotWithShape="1">
            <a:blip r:embed="rId3" cstate="print">
              <a:grayscl/>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p:blipFill>
          <p:spPr bwMode="gray">
            <a:xfrm>
              <a:off x="8702890" y="2806616"/>
              <a:ext cx="3347596" cy="2056505"/>
            </a:xfrm>
            <a:prstGeom prst="rect">
              <a:avLst/>
            </a:prstGeom>
          </p:spPr>
        </p:pic>
        <p:pic>
          <p:nvPicPr>
            <p:cNvPr id="15" name="Picture 14">
              <a:extLst>
                <a:ext uri="{FF2B5EF4-FFF2-40B4-BE49-F238E27FC236}">
                  <a16:creationId xmlns:a16="http://schemas.microsoft.com/office/drawing/2014/main" id="{DB44A589-5769-44C4-AA19-9E8F949F370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26518" y="4257040"/>
              <a:ext cx="823968" cy="621261"/>
            </a:xfrm>
            <a:prstGeom prst="rect">
              <a:avLst/>
            </a:prstGeom>
          </p:spPr>
        </p:pic>
      </p:grpSp>
      <p:pic>
        <p:nvPicPr>
          <p:cNvPr id="17" name="Picture 16">
            <a:extLst>
              <a:ext uri="{FF2B5EF4-FFF2-40B4-BE49-F238E27FC236}">
                <a16:creationId xmlns:a16="http://schemas.microsoft.com/office/drawing/2014/main" id="{FD124F71-3BF0-4DFD-9C91-AC302E2B9F2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962242" y="2601291"/>
            <a:ext cx="3347596" cy="2875972"/>
          </a:xfrm>
          <a:prstGeom prst="rect">
            <a:avLst/>
          </a:prstGeom>
        </p:spPr>
      </p:pic>
      <p:pic>
        <p:nvPicPr>
          <p:cNvPr id="19" name="Picture 18" descr="A picture containing gauge&#10;&#10;Description automatically generated">
            <a:extLst>
              <a:ext uri="{FF2B5EF4-FFF2-40B4-BE49-F238E27FC236}">
                <a16:creationId xmlns:a16="http://schemas.microsoft.com/office/drawing/2014/main" id="{7F753E11-CE73-4A4C-9E6A-01D979EBB74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167215" y="1899447"/>
            <a:ext cx="2645830" cy="3968744"/>
          </a:xfrm>
          <a:prstGeom prst="rect">
            <a:avLst/>
          </a:prstGeom>
        </p:spPr>
      </p:pic>
    </p:spTree>
    <p:extLst>
      <p:ext uri="{BB962C8B-B14F-4D97-AF65-F5344CB8AC3E}">
        <p14:creationId xmlns:p14="http://schemas.microsoft.com/office/powerpoint/2010/main" val="3865101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xit" presetSubtype="0" fill="hold" nodeType="clickEffect">
                                  <p:stCondLst>
                                    <p:cond delay="0"/>
                                  </p:stCondLst>
                                  <p:childTnLst>
                                    <p:set>
                                      <p:cBhvr>
                                        <p:cTn id="13" dur="1" fill="hold">
                                          <p:stCondLst>
                                            <p:cond delay="0"/>
                                          </p:stCondLst>
                                        </p:cTn>
                                        <p:tgtEl>
                                          <p:spTgt spid="13"/>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16"/>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xit" presetSubtype="0" fill="hold" nodeType="clickEffect">
                                  <p:stCondLst>
                                    <p:cond delay="0"/>
                                  </p:stCondLst>
                                  <p:childTnLst>
                                    <p:set>
                                      <p:cBhvr>
                                        <p:cTn id="21" dur="1" fill="hold">
                                          <p:stCondLst>
                                            <p:cond delay="0"/>
                                          </p:stCondLst>
                                        </p:cTn>
                                        <p:tgtEl>
                                          <p:spTgt spid="16"/>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17"/>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xit" presetSubtype="0" fill="hold" nodeType="clickEffect">
                                  <p:stCondLst>
                                    <p:cond delay="0"/>
                                  </p:stCondLst>
                                  <p:childTnLst>
                                    <p:set>
                                      <p:cBhvr>
                                        <p:cTn id="29" dur="1" fill="hold">
                                          <p:stCondLst>
                                            <p:cond delay="0"/>
                                          </p:stCondLst>
                                        </p:cTn>
                                        <p:tgtEl>
                                          <p:spTgt spid="17"/>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19"/>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xit" presetSubtype="0" fill="hold" nodeType="clickEffect">
                                  <p:stCondLst>
                                    <p:cond delay="0"/>
                                  </p:stCondLst>
                                  <p:childTnLst>
                                    <p:set>
                                      <p:cBhvr>
                                        <p:cTn id="37" dur="1" fill="hold">
                                          <p:stCondLst>
                                            <p:cond delay="0"/>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A2E15D8-7AFC-463E-8431-68478F48B23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1" name="think-cell Slide" r:id="rId7" imgW="470" imgH="469" progId="TCLayout.ActiveDocument.1">
                  <p:embed/>
                </p:oleObj>
              </mc:Choice>
              <mc:Fallback>
                <p:oleObj name="think-cell Slide" r:id="rId7" imgW="470" imgH="469" progId="TCLayout.ActiveDocument.1">
                  <p:embed/>
                  <p:pic>
                    <p:nvPicPr>
                      <p:cNvPr id="9" name="Object 8" hidden="1">
                        <a:extLst>
                          <a:ext uri="{FF2B5EF4-FFF2-40B4-BE49-F238E27FC236}">
                            <a16:creationId xmlns:a16="http://schemas.microsoft.com/office/drawing/2014/main" id="{BA2E15D8-7AFC-463E-8431-68478F48B23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96828E9-2F31-4097-89B0-295389E808CA}"/>
              </a:ext>
            </a:extLst>
          </p:cNvPr>
          <p:cNvSpPr/>
          <p:nvPr>
            <p:custDataLst>
              <p:tags r:id="rId3"/>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b="1" dirty="0" err="1">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sp>
        <p:nvSpPr>
          <p:cNvPr id="2" name="Arrow: Pentagon 1">
            <a:extLst>
              <a:ext uri="{FF2B5EF4-FFF2-40B4-BE49-F238E27FC236}">
                <a16:creationId xmlns:a16="http://schemas.microsoft.com/office/drawing/2014/main" id="{8A491AC4-67AB-4FEF-A170-F55FCAE9C1A1}"/>
              </a:ext>
            </a:extLst>
          </p:cNvPr>
          <p:cNvSpPr/>
          <p:nvPr/>
        </p:nvSpPr>
        <p:spPr bwMode="gray">
          <a:xfrm rot="16200000">
            <a:off x="5246396" y="-655357"/>
            <a:ext cx="1699217" cy="11544329"/>
          </a:xfrm>
          <a:prstGeom prst="homePlate">
            <a:avLst>
              <a:gd name="adj" fmla="val 15120"/>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400" dirty="0" err="1"/>
          </a:p>
        </p:txBody>
      </p:sp>
      <p:sp>
        <p:nvSpPr>
          <p:cNvPr id="3" name="Title 2"/>
          <p:cNvSpPr>
            <a:spLocks noGrp="1"/>
          </p:cNvSpPr>
          <p:nvPr>
            <p:ph type="title"/>
          </p:nvPr>
        </p:nvSpPr>
        <p:spPr/>
        <p:txBody>
          <a:bodyPr/>
          <a:lstStyle/>
          <a:p>
            <a:r>
              <a:rPr lang="en-US" dirty="0"/>
              <a:t>Overview</a:t>
            </a:r>
          </a:p>
        </p:txBody>
      </p:sp>
      <p:sp>
        <p:nvSpPr>
          <p:cNvPr id="4" name="Date Placeholder 3"/>
          <p:cNvSpPr>
            <a:spLocks noGrp="1"/>
          </p:cNvSpPr>
          <p:nvPr>
            <p:ph type="dt" sz="half" idx="18"/>
          </p:nvPr>
        </p:nvSpPr>
        <p:spPr/>
        <p:txBody>
          <a:bodyPr/>
          <a:lstStyle/>
          <a:p>
            <a:fld id="{FFAB2352-921F-4DD8-A99A-A1474F6943FF}" type="datetime4">
              <a:rPr lang="en-US" smtClean="0">
                <a:solidFill>
                  <a:srgbClr val="A9A9A9"/>
                </a:solidFill>
              </a:rPr>
              <a:pPr/>
              <a:t>June 17, 2021</a:t>
            </a:fld>
            <a:endParaRPr lang="en-US" dirty="0">
              <a:solidFill>
                <a:srgbClr val="A9A9A9"/>
              </a:solidFill>
            </a:endParaRPr>
          </a:p>
        </p:txBody>
      </p:sp>
      <p:sp>
        <p:nvSpPr>
          <p:cNvPr id="17" name="Subtitle 16"/>
          <p:cNvSpPr>
            <a:spLocks noGrp="1"/>
          </p:cNvSpPr>
          <p:nvPr>
            <p:ph type="subTitle" idx="13"/>
          </p:nvPr>
        </p:nvSpPr>
        <p:spPr/>
        <p:txBody>
          <a:bodyPr/>
          <a:lstStyle/>
          <a:p>
            <a:r>
              <a:rPr lang="en-US" dirty="0"/>
              <a:t>ABB level measurement family </a:t>
            </a:r>
          </a:p>
        </p:txBody>
      </p:sp>
      <p:sp>
        <p:nvSpPr>
          <p:cNvPr id="34" name="Content Placeholder 6"/>
          <p:cNvSpPr>
            <a:spLocks noGrp="1"/>
          </p:cNvSpPr>
          <p:nvPr>
            <p:ph sz="quarter" idx="4294967295"/>
          </p:nvPr>
        </p:nvSpPr>
        <p:spPr>
          <a:xfrm>
            <a:off x="333264" y="1907160"/>
            <a:ext cx="1952692" cy="243674"/>
          </a:xfrm>
          <a:prstGeom prst="rect">
            <a:avLst/>
          </a:prstGeom>
          <a:noFill/>
          <a:ln>
            <a:noFill/>
          </a:ln>
        </p:spPr>
        <p:txBody>
          <a:bodyPr/>
          <a:lstStyle/>
          <a:p>
            <a:r>
              <a:rPr lang="en-US" sz="1300" b="1" dirty="0" err="1">
                <a:solidFill>
                  <a:schemeClr val="tx2"/>
                </a:solidFill>
              </a:rPr>
              <a:t>Magnetostrictive</a:t>
            </a:r>
            <a:r>
              <a:rPr lang="en-US" sz="1300" b="1" dirty="0">
                <a:solidFill>
                  <a:schemeClr val="tx2"/>
                </a:solidFill>
              </a:rPr>
              <a:t> </a:t>
            </a:r>
          </a:p>
          <a:p>
            <a:endParaRPr lang="de-CH" sz="1300" b="1" dirty="0">
              <a:solidFill>
                <a:schemeClr val="tx2"/>
              </a:solidFill>
            </a:endParaRPr>
          </a:p>
        </p:txBody>
      </p:sp>
      <p:sp>
        <p:nvSpPr>
          <p:cNvPr id="37" name="Content Placeholder 8"/>
          <p:cNvSpPr>
            <a:spLocks noGrp="1"/>
          </p:cNvSpPr>
          <p:nvPr>
            <p:ph sz="quarter" idx="4294967295"/>
          </p:nvPr>
        </p:nvSpPr>
        <p:spPr>
          <a:xfrm>
            <a:off x="2017891" y="1922946"/>
            <a:ext cx="1618073" cy="326031"/>
          </a:xfrm>
          <a:prstGeom prst="rect">
            <a:avLst/>
          </a:prstGeom>
          <a:noFill/>
          <a:ln>
            <a:noFill/>
          </a:ln>
        </p:spPr>
        <p:txBody>
          <a:bodyPr/>
          <a:lstStyle/>
          <a:p>
            <a:r>
              <a:rPr lang="en-US" sz="1300" b="1" dirty="0">
                <a:solidFill>
                  <a:schemeClr val="tx2"/>
                </a:solidFill>
              </a:rPr>
              <a:t>Guided wave radar</a:t>
            </a:r>
          </a:p>
        </p:txBody>
      </p:sp>
      <p:sp>
        <p:nvSpPr>
          <p:cNvPr id="38" name="Content Placeholder 10"/>
          <p:cNvSpPr>
            <a:spLocks noGrp="1"/>
          </p:cNvSpPr>
          <p:nvPr>
            <p:ph sz="quarter" idx="4294967295"/>
          </p:nvPr>
        </p:nvSpPr>
        <p:spPr>
          <a:xfrm>
            <a:off x="4382439" y="1934365"/>
            <a:ext cx="639421" cy="205057"/>
          </a:xfrm>
          <a:prstGeom prst="rect">
            <a:avLst/>
          </a:prstGeom>
          <a:noFill/>
          <a:ln>
            <a:noFill/>
          </a:ln>
        </p:spPr>
        <p:txBody>
          <a:bodyPr/>
          <a:lstStyle/>
          <a:p>
            <a:r>
              <a:rPr lang="de-CH" sz="1300" b="1" dirty="0">
                <a:solidFill>
                  <a:schemeClr val="tx2"/>
                </a:solidFill>
              </a:rPr>
              <a:t>Laser</a:t>
            </a:r>
            <a:endParaRPr lang="en-US" sz="1300" b="1" dirty="0">
              <a:solidFill>
                <a:schemeClr val="tx2"/>
              </a:solidFill>
            </a:endParaRPr>
          </a:p>
        </p:txBody>
      </p:sp>
      <p:sp>
        <p:nvSpPr>
          <p:cNvPr id="39" name="Content Placeholder 12"/>
          <p:cNvSpPr>
            <a:spLocks noGrp="1"/>
          </p:cNvSpPr>
          <p:nvPr>
            <p:ph sz="quarter" idx="4294967295"/>
          </p:nvPr>
        </p:nvSpPr>
        <p:spPr>
          <a:xfrm>
            <a:off x="5810250" y="1923944"/>
            <a:ext cx="880659" cy="127838"/>
          </a:xfrm>
          <a:prstGeom prst="rect">
            <a:avLst/>
          </a:prstGeom>
          <a:noFill/>
          <a:ln>
            <a:noFill/>
          </a:ln>
        </p:spPr>
        <p:txBody>
          <a:bodyPr/>
          <a:lstStyle/>
          <a:p>
            <a:r>
              <a:rPr lang="en-US" sz="1300" b="1" dirty="0">
                <a:solidFill>
                  <a:schemeClr val="tx2"/>
                </a:solidFill>
              </a:rPr>
              <a:t>Ultrasonic</a:t>
            </a:r>
          </a:p>
        </p:txBody>
      </p:sp>
      <p:sp>
        <p:nvSpPr>
          <p:cNvPr id="40" name="Content Placeholder 12"/>
          <p:cNvSpPr>
            <a:spLocks noGrp="1"/>
          </p:cNvSpPr>
          <p:nvPr>
            <p:ph sz="quarter" idx="4294967295"/>
          </p:nvPr>
        </p:nvSpPr>
        <p:spPr>
          <a:xfrm>
            <a:off x="7166579" y="1923773"/>
            <a:ext cx="2885119" cy="349048"/>
          </a:xfrm>
          <a:prstGeom prst="rect">
            <a:avLst/>
          </a:prstGeom>
          <a:noFill/>
          <a:ln>
            <a:noFill/>
          </a:ln>
        </p:spPr>
        <p:txBody>
          <a:bodyPr/>
          <a:lstStyle/>
          <a:p>
            <a:r>
              <a:rPr lang="en-US" sz="1300" b="1" spc="-20" dirty="0">
                <a:solidFill>
                  <a:schemeClr val="tx2"/>
                </a:solidFill>
              </a:rPr>
              <a:t>Magnetic  Level gauge</a:t>
            </a:r>
          </a:p>
        </p:txBody>
      </p:sp>
      <p:cxnSp>
        <p:nvCxnSpPr>
          <p:cNvPr id="10" name="Straight Connector 9"/>
          <p:cNvCxnSpPr>
            <a:cxnSpLocks/>
          </p:cNvCxnSpPr>
          <p:nvPr/>
        </p:nvCxnSpPr>
        <p:spPr bwMode="gray">
          <a:xfrm flipV="1">
            <a:off x="323835" y="2166470"/>
            <a:ext cx="1371548" cy="725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bwMode="gray">
          <a:xfrm>
            <a:off x="2015867" y="2166470"/>
            <a:ext cx="148971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cxnSpLocks/>
          </p:cNvCxnSpPr>
          <p:nvPr/>
        </p:nvCxnSpPr>
        <p:spPr bwMode="gray">
          <a:xfrm flipV="1">
            <a:off x="3826066" y="2167076"/>
            <a:ext cx="1454571" cy="309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p:nvCxnSpPr>
        <p:spPr bwMode="gray">
          <a:xfrm flipV="1">
            <a:off x="5517360" y="2166470"/>
            <a:ext cx="1336508" cy="725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cxnSpLocks/>
          </p:cNvCxnSpPr>
          <p:nvPr/>
        </p:nvCxnSpPr>
        <p:spPr bwMode="gray">
          <a:xfrm>
            <a:off x="7151886" y="2174163"/>
            <a:ext cx="1684017" cy="1395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4" name="Content Placeholder 6"/>
          <p:cNvSpPr txBox="1">
            <a:spLocks/>
          </p:cNvSpPr>
          <p:nvPr/>
        </p:nvSpPr>
        <p:spPr bwMode="gray">
          <a:xfrm>
            <a:off x="614301" y="4494614"/>
            <a:ext cx="2466000" cy="250272"/>
          </a:xfrm>
          <a:prstGeom prst="rect">
            <a:avLst/>
          </a:prstGeom>
          <a:noFill/>
          <a:ln>
            <a:noFill/>
          </a:ln>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1300" b="1" dirty="0">
                <a:solidFill>
                  <a:schemeClr val="bg1">
                    <a:lumMod val="50000"/>
                  </a:schemeClr>
                </a:solidFill>
              </a:rPr>
              <a:t>Oil &amp; Gas</a:t>
            </a:r>
          </a:p>
          <a:p>
            <a:pPr algn="ctr"/>
            <a:endParaRPr lang="de-CH" sz="1300" b="1" dirty="0">
              <a:solidFill>
                <a:schemeClr val="bg1">
                  <a:lumMod val="50000"/>
                </a:schemeClr>
              </a:solidFill>
            </a:endParaRPr>
          </a:p>
        </p:txBody>
      </p:sp>
      <p:sp>
        <p:nvSpPr>
          <p:cNvPr id="45" name="Content Placeholder 6">
            <a:extLst>
              <a:ext uri="{FF2B5EF4-FFF2-40B4-BE49-F238E27FC236}">
                <a16:creationId xmlns:a16="http://schemas.microsoft.com/office/drawing/2014/main" id="{E1A63416-0203-44E9-A5A4-623042921B99}"/>
              </a:ext>
            </a:extLst>
          </p:cNvPr>
          <p:cNvSpPr txBox="1">
            <a:spLocks/>
          </p:cNvSpPr>
          <p:nvPr/>
        </p:nvSpPr>
        <p:spPr bwMode="gray">
          <a:xfrm>
            <a:off x="3698077" y="4504588"/>
            <a:ext cx="2162165" cy="229779"/>
          </a:xfrm>
          <a:prstGeom prst="rect">
            <a:avLst/>
          </a:prstGeom>
          <a:noFill/>
          <a:ln>
            <a:noFill/>
          </a:ln>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1300" b="1" dirty="0">
                <a:solidFill>
                  <a:schemeClr val="bg1">
                    <a:lumMod val="50000"/>
                  </a:schemeClr>
                </a:solidFill>
              </a:rPr>
              <a:t>Power plant</a:t>
            </a:r>
          </a:p>
          <a:p>
            <a:pPr algn="ctr"/>
            <a:endParaRPr lang="de-CH" sz="1300" b="1" dirty="0">
              <a:solidFill>
                <a:schemeClr val="bg1">
                  <a:lumMod val="50000"/>
                </a:schemeClr>
              </a:solidFill>
            </a:endParaRPr>
          </a:p>
        </p:txBody>
      </p:sp>
      <p:sp>
        <p:nvSpPr>
          <p:cNvPr id="47" name="Content Placeholder 6">
            <a:extLst>
              <a:ext uri="{FF2B5EF4-FFF2-40B4-BE49-F238E27FC236}">
                <a16:creationId xmlns:a16="http://schemas.microsoft.com/office/drawing/2014/main" id="{1D67417D-5E8E-423A-897D-939B1A426788}"/>
              </a:ext>
            </a:extLst>
          </p:cNvPr>
          <p:cNvSpPr txBox="1">
            <a:spLocks/>
          </p:cNvSpPr>
          <p:nvPr/>
        </p:nvSpPr>
        <p:spPr bwMode="gray">
          <a:xfrm>
            <a:off x="6481788" y="4515106"/>
            <a:ext cx="2162165" cy="229779"/>
          </a:xfrm>
          <a:prstGeom prst="rect">
            <a:avLst/>
          </a:prstGeom>
          <a:noFill/>
          <a:ln>
            <a:noFill/>
          </a:ln>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de-CH" sz="1300" b="1" dirty="0">
                <a:solidFill>
                  <a:schemeClr val="bg1">
                    <a:lumMod val="50000"/>
                  </a:schemeClr>
                </a:solidFill>
              </a:rPr>
              <a:t>Water &amp; Wastewater</a:t>
            </a:r>
          </a:p>
        </p:txBody>
      </p:sp>
      <p:sp>
        <p:nvSpPr>
          <p:cNvPr id="49" name="Content Placeholder 6">
            <a:extLst>
              <a:ext uri="{FF2B5EF4-FFF2-40B4-BE49-F238E27FC236}">
                <a16:creationId xmlns:a16="http://schemas.microsoft.com/office/drawing/2014/main" id="{14FD0E81-E198-4455-BF69-5B8670F7C897}"/>
              </a:ext>
            </a:extLst>
          </p:cNvPr>
          <p:cNvSpPr txBox="1">
            <a:spLocks/>
          </p:cNvSpPr>
          <p:nvPr/>
        </p:nvSpPr>
        <p:spPr bwMode="gray">
          <a:xfrm>
            <a:off x="9220969" y="4532661"/>
            <a:ext cx="2356729" cy="179375"/>
          </a:xfrm>
          <a:prstGeom prst="rect">
            <a:avLst/>
          </a:prstGeom>
          <a:noFill/>
          <a:ln>
            <a:noFill/>
          </a:ln>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altLang="zh-CN" sz="1300" b="1" dirty="0">
                <a:solidFill>
                  <a:schemeClr val="bg1">
                    <a:lumMod val="50000"/>
                  </a:schemeClr>
                </a:solidFill>
              </a:rPr>
              <a:t>Chemical &amp; Petrol Chemical</a:t>
            </a:r>
          </a:p>
          <a:p>
            <a:pPr algn="ctr"/>
            <a:endParaRPr lang="de-CH" altLang="zh-CN" sz="1300" b="1" dirty="0">
              <a:solidFill>
                <a:schemeClr val="bg1">
                  <a:lumMod val="50000"/>
                </a:schemeClr>
              </a:solidFill>
            </a:endParaRPr>
          </a:p>
          <a:p>
            <a:pPr algn="ctr"/>
            <a:endParaRPr lang="de-CH" sz="1300" b="1" dirty="0">
              <a:solidFill>
                <a:schemeClr val="bg1">
                  <a:lumMod val="50000"/>
                </a:schemeClr>
              </a:solidFill>
            </a:endParaRPr>
          </a:p>
        </p:txBody>
      </p:sp>
      <p:sp>
        <p:nvSpPr>
          <p:cNvPr id="6" name="Slide Number Placeholder 5"/>
          <p:cNvSpPr>
            <a:spLocks noGrp="1"/>
          </p:cNvSpPr>
          <p:nvPr>
            <p:ph type="sldNum" sz="quarter" idx="20"/>
          </p:nvPr>
        </p:nvSpPr>
        <p:spPr/>
        <p:txBody>
          <a:bodyPr/>
          <a:lstStyle/>
          <a:p>
            <a:r>
              <a:rPr lang="en-US">
                <a:solidFill>
                  <a:srgbClr val="A9A9A9"/>
                </a:solidFill>
              </a:rPr>
              <a:t>Slide </a:t>
            </a:r>
            <a:fld id="{619F89D8-7AE3-494A-97F3-03D680869632}" type="slidenum">
              <a:rPr lang="en-US" smtClean="0">
                <a:solidFill>
                  <a:srgbClr val="A9A9A9"/>
                </a:solidFill>
              </a:rPr>
              <a:pPr/>
              <a:t>2</a:t>
            </a:fld>
            <a:endParaRPr lang="en-US" dirty="0">
              <a:solidFill>
                <a:srgbClr val="A9A9A9"/>
              </a:solidFill>
            </a:endParaRPr>
          </a:p>
        </p:txBody>
      </p:sp>
      <p:sp>
        <p:nvSpPr>
          <p:cNvPr id="36" name="Footer Placeholder 4">
            <a:extLst>
              <a:ext uri="{FF2B5EF4-FFF2-40B4-BE49-F238E27FC236}">
                <a16:creationId xmlns:a16="http://schemas.microsoft.com/office/drawing/2014/main" id="{E021F38D-6F3A-41D2-8F5D-341804CBC0C2}"/>
              </a:ext>
            </a:extLst>
          </p:cNvPr>
          <p:cNvSpPr>
            <a:spLocks noGrp="1"/>
          </p:cNvSpPr>
          <p:nvPr>
            <p:ph type="ftr" sz="quarter" idx="19"/>
          </p:nvPr>
        </p:nvSpPr>
        <p:spPr>
          <a:xfrm>
            <a:off x="2499782" y="6298397"/>
            <a:ext cx="8490250" cy="500072"/>
          </a:xfrm>
        </p:spPr>
        <p:txBody>
          <a:bodyPr/>
          <a:lstStyle/>
          <a:p>
            <a:endParaRPr lang="en-US" dirty="0"/>
          </a:p>
        </p:txBody>
      </p:sp>
      <p:pic>
        <p:nvPicPr>
          <p:cNvPr id="33" name="Picture 32">
            <a:extLst>
              <a:ext uri="{FF2B5EF4-FFF2-40B4-BE49-F238E27FC236}">
                <a16:creationId xmlns:a16="http://schemas.microsoft.com/office/drawing/2014/main" id="{76F5E009-BB81-4283-A6C8-4F099EA3F0BD}"/>
              </a:ext>
            </a:extLst>
          </p:cNvPr>
          <p:cNvPicPr>
            <a:picLocks noChangeAspect="1"/>
          </p:cNvPicPr>
          <p:nvPr/>
        </p:nvPicPr>
        <p:blipFill>
          <a:blip r:embed="rId9"/>
          <a:stretch>
            <a:fillRect/>
          </a:stretch>
        </p:blipFill>
        <p:spPr>
          <a:xfrm>
            <a:off x="584394" y="2312819"/>
            <a:ext cx="766695" cy="2038966"/>
          </a:xfrm>
          <a:prstGeom prst="rect">
            <a:avLst/>
          </a:prstGeom>
        </p:spPr>
      </p:pic>
      <p:pic>
        <p:nvPicPr>
          <p:cNvPr id="46" name="Picture 45">
            <a:extLst>
              <a:ext uri="{FF2B5EF4-FFF2-40B4-BE49-F238E27FC236}">
                <a16:creationId xmlns:a16="http://schemas.microsoft.com/office/drawing/2014/main" id="{0FEC4593-02B3-4461-BFB2-33C3B7187A1C}"/>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938944" y="2011191"/>
            <a:ext cx="1543520" cy="2305456"/>
          </a:xfrm>
          <a:prstGeom prst="rect">
            <a:avLst/>
          </a:prstGeom>
        </p:spPr>
      </p:pic>
      <p:pic>
        <p:nvPicPr>
          <p:cNvPr id="48" name="Picture 47">
            <a:extLst>
              <a:ext uri="{FF2B5EF4-FFF2-40B4-BE49-F238E27FC236}">
                <a16:creationId xmlns:a16="http://schemas.microsoft.com/office/drawing/2014/main" id="{85B582A2-BC39-41AB-8D5B-E89512F2DBEB}"/>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766005" y="2364332"/>
            <a:ext cx="1550596" cy="1460722"/>
          </a:xfrm>
          <a:prstGeom prst="rect">
            <a:avLst/>
          </a:prstGeom>
        </p:spPr>
      </p:pic>
      <p:pic>
        <p:nvPicPr>
          <p:cNvPr id="50" name="Picture 49">
            <a:extLst>
              <a:ext uri="{FF2B5EF4-FFF2-40B4-BE49-F238E27FC236}">
                <a16:creationId xmlns:a16="http://schemas.microsoft.com/office/drawing/2014/main" id="{6311D27F-D750-4BFA-B8D1-6B77C78E6721}"/>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5719960" y="2401900"/>
            <a:ext cx="996853" cy="1661422"/>
          </a:xfrm>
          <a:prstGeom prst="rect">
            <a:avLst/>
          </a:prstGeom>
        </p:spPr>
      </p:pic>
      <p:pic>
        <p:nvPicPr>
          <p:cNvPr id="51" name="Picture 50" descr="A picture containing device, sitting, front, table&#10;&#10;Description automatically generated">
            <a:extLst>
              <a:ext uri="{FF2B5EF4-FFF2-40B4-BE49-F238E27FC236}">
                <a16:creationId xmlns:a16="http://schemas.microsoft.com/office/drawing/2014/main" id="{CB379424-C259-4471-870E-02CEA7C57CE9}"/>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362957" y="2302655"/>
            <a:ext cx="788618" cy="2191958"/>
          </a:xfrm>
          <a:prstGeom prst="rect">
            <a:avLst/>
          </a:prstGeom>
        </p:spPr>
      </p:pic>
      <p:sp>
        <p:nvSpPr>
          <p:cNvPr id="52" name="Content Placeholder 12">
            <a:extLst>
              <a:ext uri="{FF2B5EF4-FFF2-40B4-BE49-F238E27FC236}">
                <a16:creationId xmlns:a16="http://schemas.microsoft.com/office/drawing/2014/main" id="{AFE086F0-129C-42DD-868B-1959F8157406}"/>
              </a:ext>
            </a:extLst>
          </p:cNvPr>
          <p:cNvSpPr txBox="1">
            <a:spLocks/>
          </p:cNvSpPr>
          <p:nvPr/>
        </p:nvSpPr>
        <p:spPr bwMode="gray">
          <a:xfrm>
            <a:off x="9790303" y="1937962"/>
            <a:ext cx="2065591" cy="349048"/>
          </a:xfrm>
          <a:prstGeom prst="rect">
            <a:avLst/>
          </a:prstGeom>
          <a:noFill/>
          <a:ln>
            <a:noFill/>
          </a:ln>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1300" b="1" spc="-20" dirty="0">
                <a:solidFill>
                  <a:schemeClr val="tx2"/>
                </a:solidFill>
              </a:rPr>
              <a:t>Level switches</a:t>
            </a:r>
          </a:p>
        </p:txBody>
      </p:sp>
      <p:pic>
        <p:nvPicPr>
          <p:cNvPr id="18" name="Picture 17">
            <a:extLst>
              <a:ext uri="{FF2B5EF4-FFF2-40B4-BE49-F238E27FC236}">
                <a16:creationId xmlns:a16="http://schemas.microsoft.com/office/drawing/2014/main" id="{16CEE95B-1C00-4C5C-8BE2-412750182EE4}"/>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166896" y="2404580"/>
            <a:ext cx="639870" cy="615724"/>
          </a:xfrm>
          <a:prstGeom prst="rect">
            <a:avLst/>
          </a:prstGeom>
        </p:spPr>
      </p:pic>
      <p:pic>
        <p:nvPicPr>
          <p:cNvPr id="19" name="Picture 18">
            <a:extLst>
              <a:ext uri="{FF2B5EF4-FFF2-40B4-BE49-F238E27FC236}">
                <a16:creationId xmlns:a16="http://schemas.microsoft.com/office/drawing/2014/main" id="{5B5E457E-D5E0-4448-B16E-1EEC8A9656B9}"/>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10493952" y="2342394"/>
            <a:ext cx="427446" cy="1963792"/>
          </a:xfrm>
          <a:prstGeom prst="rect">
            <a:avLst/>
          </a:prstGeom>
        </p:spPr>
      </p:pic>
      <p:pic>
        <p:nvPicPr>
          <p:cNvPr id="21" name="Picture 20">
            <a:extLst>
              <a:ext uri="{FF2B5EF4-FFF2-40B4-BE49-F238E27FC236}">
                <a16:creationId xmlns:a16="http://schemas.microsoft.com/office/drawing/2014/main" id="{C2CDA0A4-8906-4767-A20F-AB43C2A2220D}"/>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11185939" y="3451478"/>
            <a:ext cx="332087" cy="820753"/>
          </a:xfrm>
          <a:prstGeom prst="rect">
            <a:avLst/>
          </a:prstGeom>
        </p:spPr>
      </p:pic>
      <p:pic>
        <p:nvPicPr>
          <p:cNvPr id="22" name="Picture 21">
            <a:extLst>
              <a:ext uri="{FF2B5EF4-FFF2-40B4-BE49-F238E27FC236}">
                <a16:creationId xmlns:a16="http://schemas.microsoft.com/office/drawing/2014/main" id="{6A26188D-5E82-4367-9666-47B38AA2C430}"/>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11157447" y="2445875"/>
            <a:ext cx="360580" cy="805671"/>
          </a:xfrm>
          <a:prstGeom prst="rect">
            <a:avLst/>
          </a:prstGeom>
        </p:spPr>
      </p:pic>
      <p:pic>
        <p:nvPicPr>
          <p:cNvPr id="23" name="Picture 22">
            <a:extLst>
              <a:ext uri="{FF2B5EF4-FFF2-40B4-BE49-F238E27FC236}">
                <a16:creationId xmlns:a16="http://schemas.microsoft.com/office/drawing/2014/main" id="{C7820374-0E93-45F0-B259-9591F410D46C}"/>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l="-19727" r="-1"/>
          <a:stretch/>
        </p:blipFill>
        <p:spPr>
          <a:xfrm>
            <a:off x="9869950" y="2353828"/>
            <a:ext cx="531468" cy="1904802"/>
          </a:xfrm>
          <a:prstGeom prst="rect">
            <a:avLst/>
          </a:prstGeom>
        </p:spPr>
      </p:pic>
      <p:pic>
        <p:nvPicPr>
          <p:cNvPr id="24" name="Picture 23">
            <a:extLst>
              <a:ext uri="{FF2B5EF4-FFF2-40B4-BE49-F238E27FC236}">
                <a16:creationId xmlns:a16="http://schemas.microsoft.com/office/drawing/2014/main" id="{21AFE686-07F8-446B-8177-E74341F18F22}"/>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9103712" y="3668734"/>
            <a:ext cx="766238" cy="248346"/>
          </a:xfrm>
          <a:prstGeom prst="rect">
            <a:avLst/>
          </a:prstGeom>
        </p:spPr>
      </p:pic>
      <p:cxnSp>
        <p:nvCxnSpPr>
          <p:cNvPr id="53" name="Straight Connector 52">
            <a:extLst>
              <a:ext uri="{FF2B5EF4-FFF2-40B4-BE49-F238E27FC236}">
                <a16:creationId xmlns:a16="http://schemas.microsoft.com/office/drawing/2014/main" id="{9E799234-A12C-4C7D-AB1C-026F88C3591C}"/>
              </a:ext>
            </a:extLst>
          </p:cNvPr>
          <p:cNvCxnSpPr>
            <a:cxnSpLocks/>
          </p:cNvCxnSpPr>
          <p:nvPr/>
        </p:nvCxnSpPr>
        <p:spPr bwMode="gray">
          <a:xfrm flipV="1">
            <a:off x="9150882" y="2180423"/>
            <a:ext cx="2683158" cy="725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8313E293-0DFC-435F-B0D9-D3FAEFCDD773}"/>
              </a:ext>
            </a:extLst>
          </p:cNvPr>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675743" y="4715987"/>
            <a:ext cx="2384339" cy="1184395"/>
          </a:xfrm>
          <a:prstGeom prst="rect">
            <a:avLst/>
          </a:prstGeom>
        </p:spPr>
      </p:pic>
      <p:pic>
        <p:nvPicPr>
          <p:cNvPr id="58" name="Picture 24" descr="iStock_000004996512Small">
            <a:extLst>
              <a:ext uri="{FF2B5EF4-FFF2-40B4-BE49-F238E27FC236}">
                <a16:creationId xmlns:a16="http://schemas.microsoft.com/office/drawing/2014/main" id="{B91F73E9-C295-45D0-BFB0-746D944A4D4A}"/>
              </a:ext>
            </a:extLst>
          </p:cNvPr>
          <p:cNvPicPr preferRelativeResize="0">
            <a:picLocks noChangeArrowheads="1"/>
          </p:cNvPicPr>
          <p:nvPr>
            <p:custDataLst>
              <p:tags r:id="rId4"/>
            </p:custDataLst>
          </p:nvPr>
        </p:nvPicPr>
        <p:blipFill rotWithShape="1">
          <a:blip r:embed="rId21" cstate="print">
            <a:extLst>
              <a:ext uri="{28A0092B-C50C-407E-A947-70E740481C1C}">
                <a14:useLocalDpi xmlns:a14="http://schemas.microsoft.com/office/drawing/2010/main"/>
              </a:ext>
            </a:extLst>
          </a:blip>
          <a:srcRect/>
          <a:stretch/>
        </p:blipFill>
        <p:spPr bwMode="auto">
          <a:xfrm>
            <a:off x="3567084" y="4753453"/>
            <a:ext cx="2384339" cy="1159251"/>
          </a:xfrm>
          <a:prstGeom prst="rect">
            <a:avLst/>
          </a:prstGeom>
          <a:noFill/>
          <a:ln>
            <a:noFill/>
          </a:ln>
        </p:spPr>
      </p:pic>
      <p:pic>
        <p:nvPicPr>
          <p:cNvPr id="59" name="Picture 58">
            <a:extLst>
              <a:ext uri="{FF2B5EF4-FFF2-40B4-BE49-F238E27FC236}">
                <a16:creationId xmlns:a16="http://schemas.microsoft.com/office/drawing/2014/main" id="{037D7354-2149-4758-9811-4A268A524B84}"/>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6441028" y="4720162"/>
            <a:ext cx="2343727" cy="1183974"/>
          </a:xfrm>
          <a:prstGeom prst="rect">
            <a:avLst/>
          </a:prstGeom>
        </p:spPr>
      </p:pic>
      <p:pic>
        <p:nvPicPr>
          <p:cNvPr id="32" name="Picture 31">
            <a:extLst>
              <a:ext uri="{FF2B5EF4-FFF2-40B4-BE49-F238E27FC236}">
                <a16:creationId xmlns:a16="http://schemas.microsoft.com/office/drawing/2014/main" id="{8189C817-CB01-47B0-AADF-61DF72F982FD}"/>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9268859" y="4737325"/>
            <a:ext cx="2261965" cy="1166810"/>
          </a:xfrm>
          <a:prstGeom prst="rect">
            <a:avLst/>
          </a:prstGeom>
        </p:spPr>
      </p:pic>
    </p:spTree>
    <p:extLst>
      <p:ext uri="{BB962C8B-B14F-4D97-AF65-F5344CB8AC3E}">
        <p14:creationId xmlns:p14="http://schemas.microsoft.com/office/powerpoint/2010/main" val="3454502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2436E-E2F1-4798-9CD2-17F656327B90}"/>
              </a:ext>
            </a:extLst>
          </p:cNvPr>
          <p:cNvSpPr>
            <a:spLocks noGrp="1"/>
          </p:cNvSpPr>
          <p:nvPr>
            <p:ph type="title"/>
          </p:nvPr>
        </p:nvSpPr>
        <p:spPr/>
        <p:txBody>
          <a:bodyPr/>
          <a:lstStyle/>
          <a:p>
            <a:r>
              <a:rPr lang="en-US" altLang="zh-CN" dirty="0"/>
              <a:t>LST200 applications</a:t>
            </a:r>
            <a:endParaRPr lang="en-US" dirty="0"/>
          </a:p>
        </p:txBody>
      </p:sp>
      <p:sp>
        <p:nvSpPr>
          <p:cNvPr id="3" name="Footer Placeholder 2">
            <a:extLst>
              <a:ext uri="{FF2B5EF4-FFF2-40B4-BE49-F238E27FC236}">
                <a16:creationId xmlns:a16="http://schemas.microsoft.com/office/drawing/2014/main" id="{43B240C9-795E-46FB-9E9A-772EEB000F48}"/>
              </a:ext>
            </a:extLst>
          </p:cNvPr>
          <p:cNvSpPr>
            <a:spLocks noGrp="1"/>
          </p:cNvSpPr>
          <p:nvPr>
            <p:ph type="ftr" sz="quarter" idx="10"/>
          </p:nvPr>
        </p:nvSpPr>
        <p:spPr/>
        <p:txBody>
          <a:bodyPr/>
          <a:lstStyle/>
          <a:p>
            <a:pPr lvl="8"/>
            <a:endParaRPr lang="en-US"/>
          </a:p>
        </p:txBody>
      </p:sp>
      <p:sp>
        <p:nvSpPr>
          <p:cNvPr id="5" name="Slide Number Placeholder 4">
            <a:extLst>
              <a:ext uri="{FF2B5EF4-FFF2-40B4-BE49-F238E27FC236}">
                <a16:creationId xmlns:a16="http://schemas.microsoft.com/office/drawing/2014/main" id="{0D920F75-ABB6-4357-923C-EE2215EB1CBA}"/>
              </a:ext>
            </a:extLst>
          </p:cNvPr>
          <p:cNvSpPr>
            <a:spLocks noGrp="1"/>
          </p:cNvSpPr>
          <p:nvPr>
            <p:ph type="sldNum" sz="quarter" idx="12"/>
          </p:nvPr>
        </p:nvSpPr>
        <p:spPr/>
        <p:txBody>
          <a:bodyPr/>
          <a:lstStyle/>
          <a:p>
            <a:r>
              <a:rPr lang="en-US"/>
              <a:t>Slide </a:t>
            </a:r>
            <a:fld id="{619F89D8-7AE3-494A-97F3-03D680869632}" type="slidenum">
              <a:rPr lang="en-US" smtClean="0"/>
              <a:pPr/>
              <a:t>20</a:t>
            </a:fld>
            <a:endParaRPr lang="en-US"/>
          </a:p>
        </p:txBody>
      </p:sp>
      <p:sp>
        <p:nvSpPr>
          <p:cNvPr id="15" name="Text Placeholder 14">
            <a:extLst>
              <a:ext uri="{FF2B5EF4-FFF2-40B4-BE49-F238E27FC236}">
                <a16:creationId xmlns:a16="http://schemas.microsoft.com/office/drawing/2014/main" id="{D62A2587-D783-49C8-A28C-969AB607CD09}"/>
              </a:ext>
            </a:extLst>
          </p:cNvPr>
          <p:cNvSpPr>
            <a:spLocks noGrp="1"/>
          </p:cNvSpPr>
          <p:nvPr>
            <p:ph type="body" sz="quarter" idx="16"/>
          </p:nvPr>
        </p:nvSpPr>
        <p:spPr/>
        <p:txBody>
          <a:bodyPr/>
          <a:lstStyle/>
          <a:p>
            <a:r>
              <a:rPr lang="en-US" altLang="zh-CN" b="0" dirty="0"/>
              <a:t> Sludge tank</a:t>
            </a:r>
            <a:endParaRPr lang="en-US" altLang="zh-CN" dirty="0"/>
          </a:p>
        </p:txBody>
      </p:sp>
      <p:sp>
        <p:nvSpPr>
          <p:cNvPr id="7" name="Content Placeholder 6">
            <a:extLst>
              <a:ext uri="{FF2B5EF4-FFF2-40B4-BE49-F238E27FC236}">
                <a16:creationId xmlns:a16="http://schemas.microsoft.com/office/drawing/2014/main" id="{8A8DB003-CE2D-484B-A35B-82EECC138050}"/>
              </a:ext>
            </a:extLst>
          </p:cNvPr>
          <p:cNvSpPr>
            <a:spLocks noGrp="1"/>
          </p:cNvSpPr>
          <p:nvPr>
            <p:ph sz="quarter" idx="19"/>
          </p:nvPr>
        </p:nvSpPr>
        <p:spPr>
          <a:xfrm>
            <a:off x="333263" y="2317640"/>
            <a:ext cx="4093767" cy="3594475"/>
          </a:xfrm>
        </p:spPr>
        <p:txBody>
          <a:bodyPr/>
          <a:lstStyle/>
          <a:p>
            <a:r>
              <a:rPr lang="en-US" altLang="zh-CN" dirty="0"/>
              <a:t>Sludge is a big challenge due to the feature that absorbing ultrasound.</a:t>
            </a:r>
          </a:p>
          <a:p>
            <a:r>
              <a:rPr lang="en-US" altLang="zh-CN" dirty="0"/>
              <a:t>The customer used the waveform to check the strength of the signal and find the device only used power level P= 2  for their application ( “5” is the highest power level)</a:t>
            </a:r>
          </a:p>
          <a:p>
            <a:r>
              <a:rPr lang="en-US" altLang="zh-CN" dirty="0"/>
              <a:t>Result : Customer felt safe and decided to use LST200 and till now the device works in good condition at customer site</a:t>
            </a:r>
          </a:p>
          <a:p>
            <a:endParaRPr lang="en-US" altLang="zh-CN" dirty="0"/>
          </a:p>
          <a:p>
            <a:r>
              <a:rPr lang="en-US" altLang="zh-CN" dirty="0"/>
              <a:t>Note: the ultrasound absorption of sludge could vary a lot according to the water content</a:t>
            </a:r>
          </a:p>
          <a:p>
            <a:pPr marL="285750" indent="-285750">
              <a:buFont typeface="ABBvoice" panose="020D0603020503020204" pitchFamily="34" charset="0"/>
              <a:buChar char="–"/>
            </a:pPr>
            <a:endParaRPr lang="en-US" dirty="0"/>
          </a:p>
        </p:txBody>
      </p:sp>
      <p:sp>
        <p:nvSpPr>
          <p:cNvPr id="14" name="Subtitle 13">
            <a:extLst>
              <a:ext uri="{FF2B5EF4-FFF2-40B4-BE49-F238E27FC236}">
                <a16:creationId xmlns:a16="http://schemas.microsoft.com/office/drawing/2014/main" id="{C9294AFE-CB24-461B-9CDB-618C609B8619}"/>
              </a:ext>
            </a:extLst>
          </p:cNvPr>
          <p:cNvSpPr>
            <a:spLocks noGrp="1"/>
          </p:cNvSpPr>
          <p:nvPr>
            <p:ph type="subTitle" idx="13"/>
          </p:nvPr>
        </p:nvSpPr>
        <p:spPr/>
        <p:txBody>
          <a:bodyPr/>
          <a:lstStyle/>
          <a:p>
            <a:r>
              <a:rPr lang="en-US" altLang="zh-CN" dirty="0"/>
              <a:t>Typical tank measurement - s</a:t>
            </a:r>
            <a:r>
              <a:rPr lang="en-US" dirty="0"/>
              <a:t>uccessful story</a:t>
            </a:r>
          </a:p>
        </p:txBody>
      </p:sp>
      <p:pic>
        <p:nvPicPr>
          <p:cNvPr id="10" name="Picture 9">
            <a:extLst>
              <a:ext uri="{FF2B5EF4-FFF2-40B4-BE49-F238E27FC236}">
                <a16:creationId xmlns:a16="http://schemas.microsoft.com/office/drawing/2014/main" id="{98EAD5BE-8700-416E-9D7B-D5A131E7564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262650" y="2317640"/>
            <a:ext cx="3216926" cy="3147434"/>
          </a:xfrm>
          <a:prstGeom prst="rect">
            <a:avLst/>
          </a:prstGeom>
        </p:spPr>
      </p:pic>
      <p:pic>
        <p:nvPicPr>
          <p:cNvPr id="11" name="Picture 10">
            <a:extLst>
              <a:ext uri="{FF2B5EF4-FFF2-40B4-BE49-F238E27FC236}">
                <a16:creationId xmlns:a16="http://schemas.microsoft.com/office/drawing/2014/main" id="{DF897197-1599-4EF2-976A-39F80B0A914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076131" y="2322833"/>
            <a:ext cx="1403446" cy="1477986"/>
          </a:xfrm>
          <a:prstGeom prst="rect">
            <a:avLst/>
          </a:prstGeom>
        </p:spPr>
      </p:pic>
      <p:sp>
        <p:nvSpPr>
          <p:cNvPr id="8" name="Oval 7">
            <a:extLst>
              <a:ext uri="{FF2B5EF4-FFF2-40B4-BE49-F238E27FC236}">
                <a16:creationId xmlns:a16="http://schemas.microsoft.com/office/drawing/2014/main" id="{471EA284-7267-4799-BE32-A0B23F842FF8}"/>
              </a:ext>
            </a:extLst>
          </p:cNvPr>
          <p:cNvSpPr/>
          <p:nvPr/>
        </p:nvSpPr>
        <p:spPr bwMode="gray">
          <a:xfrm>
            <a:off x="8791460" y="4295641"/>
            <a:ext cx="1002535" cy="79415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err="1"/>
          </a:p>
        </p:txBody>
      </p:sp>
      <p:cxnSp>
        <p:nvCxnSpPr>
          <p:cNvPr id="12" name="Straight Arrow Connector 11">
            <a:extLst>
              <a:ext uri="{FF2B5EF4-FFF2-40B4-BE49-F238E27FC236}">
                <a16:creationId xmlns:a16="http://schemas.microsoft.com/office/drawing/2014/main" id="{D3EE26B1-3BD8-4963-95B3-67CAE413C6EA}"/>
              </a:ext>
            </a:extLst>
          </p:cNvPr>
          <p:cNvCxnSpPr>
            <a:cxnSpLocks/>
            <a:stCxn id="8" idx="7"/>
          </p:cNvCxnSpPr>
          <p:nvPr/>
        </p:nvCxnSpPr>
        <p:spPr bwMode="gray">
          <a:xfrm flipV="1">
            <a:off x="9647177" y="3800819"/>
            <a:ext cx="422240" cy="61112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EE93E047-FEF2-4C1C-8C5E-A258B94ADE2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742122" y="2321194"/>
            <a:ext cx="3578350" cy="3143879"/>
          </a:xfrm>
          <a:prstGeom prst="rect">
            <a:avLst/>
          </a:prstGeom>
        </p:spPr>
      </p:pic>
    </p:spTree>
    <p:extLst>
      <p:ext uri="{BB962C8B-B14F-4D97-AF65-F5344CB8AC3E}">
        <p14:creationId xmlns:p14="http://schemas.microsoft.com/office/powerpoint/2010/main" val="787921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8E973-1E9D-48DC-BDBA-62E867ED2091}"/>
              </a:ext>
            </a:extLst>
          </p:cNvPr>
          <p:cNvSpPr>
            <a:spLocks noGrp="1"/>
          </p:cNvSpPr>
          <p:nvPr>
            <p:ph type="title"/>
          </p:nvPr>
        </p:nvSpPr>
        <p:spPr/>
        <p:txBody>
          <a:bodyPr/>
          <a:lstStyle/>
          <a:p>
            <a:r>
              <a:rPr lang="en-US" altLang="zh-CN" dirty="0"/>
              <a:t>LST200 applications</a:t>
            </a:r>
            <a:endParaRPr lang="zh-CN" altLang="en-US" dirty="0"/>
          </a:p>
        </p:txBody>
      </p:sp>
      <p:sp>
        <p:nvSpPr>
          <p:cNvPr id="3" name="Footer Placeholder 2">
            <a:extLst>
              <a:ext uri="{FF2B5EF4-FFF2-40B4-BE49-F238E27FC236}">
                <a16:creationId xmlns:a16="http://schemas.microsoft.com/office/drawing/2014/main" id="{A1B186E5-3C2A-45BA-AFAE-719F36A72998}"/>
              </a:ext>
            </a:extLst>
          </p:cNvPr>
          <p:cNvSpPr>
            <a:spLocks noGrp="1"/>
          </p:cNvSpPr>
          <p:nvPr>
            <p:ph type="ftr" sz="quarter" idx="10"/>
          </p:nvPr>
        </p:nvSpPr>
        <p:spPr/>
        <p:txBody>
          <a:bodyPr/>
          <a:lstStyle/>
          <a:p>
            <a:pPr lvl="8"/>
            <a:endParaRPr lang="en-US" dirty="0"/>
          </a:p>
        </p:txBody>
      </p:sp>
      <p:sp>
        <p:nvSpPr>
          <p:cNvPr id="5" name="Slide Number Placeholder 4">
            <a:extLst>
              <a:ext uri="{FF2B5EF4-FFF2-40B4-BE49-F238E27FC236}">
                <a16:creationId xmlns:a16="http://schemas.microsoft.com/office/drawing/2014/main" id="{7628E3F9-1360-455C-8FFA-7F752CF10F74}"/>
              </a:ext>
            </a:extLst>
          </p:cNvPr>
          <p:cNvSpPr>
            <a:spLocks noGrp="1"/>
          </p:cNvSpPr>
          <p:nvPr>
            <p:ph type="sldNum" sz="quarter" idx="12"/>
          </p:nvPr>
        </p:nvSpPr>
        <p:spPr/>
        <p:txBody>
          <a:bodyPr/>
          <a:lstStyle/>
          <a:p>
            <a:r>
              <a:rPr lang="en-US"/>
              <a:t>Slide </a:t>
            </a:r>
            <a:fld id="{619F89D8-7AE3-494A-97F3-03D680869632}" type="slidenum">
              <a:rPr lang="en-US" smtClean="0"/>
              <a:pPr/>
              <a:t>21</a:t>
            </a:fld>
            <a:endParaRPr lang="en-US" dirty="0"/>
          </a:p>
        </p:txBody>
      </p:sp>
      <p:sp>
        <p:nvSpPr>
          <p:cNvPr id="6" name="Text Placeholder 5">
            <a:extLst>
              <a:ext uri="{FF2B5EF4-FFF2-40B4-BE49-F238E27FC236}">
                <a16:creationId xmlns:a16="http://schemas.microsoft.com/office/drawing/2014/main" id="{4CC7D0D2-703E-49C7-8114-9123F6CE977E}"/>
              </a:ext>
            </a:extLst>
          </p:cNvPr>
          <p:cNvSpPr>
            <a:spLocks noGrp="1"/>
          </p:cNvSpPr>
          <p:nvPr>
            <p:ph type="body" sz="quarter" idx="16"/>
          </p:nvPr>
        </p:nvSpPr>
        <p:spPr/>
        <p:txBody>
          <a:bodyPr/>
          <a:lstStyle/>
          <a:p>
            <a:r>
              <a:rPr lang="en-US" altLang="zh-CN" dirty="0"/>
              <a:t>Brine tank, chlorine tank</a:t>
            </a:r>
            <a:endParaRPr lang="zh-CN" altLang="en-US" dirty="0"/>
          </a:p>
        </p:txBody>
      </p:sp>
      <p:sp>
        <p:nvSpPr>
          <p:cNvPr id="8" name="Content Placeholder 7">
            <a:extLst>
              <a:ext uri="{FF2B5EF4-FFF2-40B4-BE49-F238E27FC236}">
                <a16:creationId xmlns:a16="http://schemas.microsoft.com/office/drawing/2014/main" id="{ADAD7ED5-DAD9-46B0-B5E4-439DCC493E3A}"/>
              </a:ext>
            </a:extLst>
          </p:cNvPr>
          <p:cNvSpPr>
            <a:spLocks noGrp="1"/>
          </p:cNvSpPr>
          <p:nvPr>
            <p:ph sz="quarter" idx="19"/>
          </p:nvPr>
        </p:nvSpPr>
        <p:spPr/>
        <p:txBody>
          <a:bodyPr/>
          <a:lstStyle/>
          <a:p>
            <a:r>
              <a:rPr lang="en-US" altLang="zh-CN" dirty="0"/>
              <a:t>LST200’s enclosure is made from polycarbonate  which is resistant to mild acid and base, chloride, oxidizer. </a:t>
            </a:r>
            <a:endParaRPr lang="zh-CN" altLang="en-US" dirty="0"/>
          </a:p>
        </p:txBody>
      </p:sp>
      <p:sp>
        <p:nvSpPr>
          <p:cNvPr id="9" name="Subtitle 8">
            <a:extLst>
              <a:ext uri="{FF2B5EF4-FFF2-40B4-BE49-F238E27FC236}">
                <a16:creationId xmlns:a16="http://schemas.microsoft.com/office/drawing/2014/main" id="{AA11FF3F-A7EF-4CC7-B261-DE2FA6EC94E6}"/>
              </a:ext>
            </a:extLst>
          </p:cNvPr>
          <p:cNvSpPr>
            <a:spLocks noGrp="1"/>
          </p:cNvSpPr>
          <p:nvPr>
            <p:ph type="subTitle" idx="13"/>
          </p:nvPr>
        </p:nvSpPr>
        <p:spPr/>
        <p:txBody>
          <a:bodyPr/>
          <a:lstStyle/>
          <a:p>
            <a:r>
              <a:rPr lang="en-US" altLang="zh-CN" dirty="0"/>
              <a:t>Typical tank measurement - s</a:t>
            </a:r>
            <a:r>
              <a:rPr lang="en-US" dirty="0"/>
              <a:t>uccessful story</a:t>
            </a:r>
          </a:p>
          <a:p>
            <a:endParaRPr lang="zh-CN" altLang="en-US" dirty="0"/>
          </a:p>
        </p:txBody>
      </p:sp>
      <p:pic>
        <p:nvPicPr>
          <p:cNvPr id="13" name="Content Placeholder 12" descr="A picture containing table, sitting, green, cake&#10;&#10;Description automatically generated">
            <a:extLst>
              <a:ext uri="{FF2B5EF4-FFF2-40B4-BE49-F238E27FC236}">
                <a16:creationId xmlns:a16="http://schemas.microsoft.com/office/drawing/2014/main" id="{7F82AAA3-978D-461F-9034-56C1741BA673}"/>
              </a:ext>
            </a:extLst>
          </p:cNvPr>
          <p:cNvPicPr>
            <a:picLocks noGrp="1" noChangeAspect="1"/>
          </p:cNvPicPr>
          <p:nvPr>
            <p:ph sz="quarter" idx="20"/>
          </p:nvPr>
        </p:nvPicPr>
        <p:blipFill rotWithShape="1">
          <a:blip r:embed="rId3" cstate="print">
            <a:extLst>
              <a:ext uri="{28A0092B-C50C-407E-A947-70E740481C1C}">
                <a14:useLocalDpi xmlns:a14="http://schemas.microsoft.com/office/drawing/2010/main"/>
              </a:ext>
            </a:extLst>
          </a:blip>
          <a:srcRect/>
          <a:stretch/>
        </p:blipFill>
        <p:spPr>
          <a:xfrm>
            <a:off x="6796683" y="2183194"/>
            <a:ext cx="2580997" cy="3728655"/>
          </a:xfrm>
        </p:spPr>
      </p:pic>
    </p:spTree>
    <p:extLst>
      <p:ext uri="{BB962C8B-B14F-4D97-AF65-F5344CB8AC3E}">
        <p14:creationId xmlns:p14="http://schemas.microsoft.com/office/powerpoint/2010/main" val="2269143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4D1893-7CAE-44F9-8318-D62393636D68}"/>
              </a:ext>
            </a:extLst>
          </p:cNvPr>
          <p:cNvSpPr>
            <a:spLocks noGrp="1"/>
          </p:cNvSpPr>
          <p:nvPr>
            <p:ph type="title"/>
          </p:nvPr>
        </p:nvSpPr>
        <p:spPr/>
        <p:txBody>
          <a:bodyPr/>
          <a:lstStyle/>
          <a:p>
            <a:r>
              <a:rPr lang="en-US" altLang="zh-CN" dirty="0"/>
              <a:t>LST200 applications</a:t>
            </a:r>
            <a:endParaRPr lang="en-US" dirty="0"/>
          </a:p>
        </p:txBody>
      </p:sp>
      <p:sp>
        <p:nvSpPr>
          <p:cNvPr id="5" name="Footer Placeholder 4">
            <a:extLst>
              <a:ext uri="{FF2B5EF4-FFF2-40B4-BE49-F238E27FC236}">
                <a16:creationId xmlns:a16="http://schemas.microsoft.com/office/drawing/2014/main" id="{64AF5C42-3451-4ADA-B792-3353785F5048}"/>
              </a:ext>
            </a:extLst>
          </p:cNvPr>
          <p:cNvSpPr>
            <a:spLocks noGrp="1"/>
          </p:cNvSpPr>
          <p:nvPr>
            <p:ph type="ftr" sz="quarter" idx="10"/>
          </p:nvPr>
        </p:nvSpPr>
        <p:spPr/>
        <p:txBody>
          <a:bodyPr/>
          <a:lstStyle/>
          <a:p>
            <a:pPr lvl="8"/>
            <a:endParaRPr lang="en-US"/>
          </a:p>
        </p:txBody>
      </p:sp>
      <p:sp>
        <p:nvSpPr>
          <p:cNvPr id="6" name="Slide Number Placeholder 5">
            <a:extLst>
              <a:ext uri="{FF2B5EF4-FFF2-40B4-BE49-F238E27FC236}">
                <a16:creationId xmlns:a16="http://schemas.microsoft.com/office/drawing/2014/main" id="{1A25F9FB-736A-4DED-98FB-79F4F03575E1}"/>
              </a:ext>
            </a:extLst>
          </p:cNvPr>
          <p:cNvSpPr>
            <a:spLocks noGrp="1"/>
          </p:cNvSpPr>
          <p:nvPr>
            <p:ph type="sldNum" sz="quarter" idx="12"/>
          </p:nvPr>
        </p:nvSpPr>
        <p:spPr/>
        <p:txBody>
          <a:bodyPr/>
          <a:lstStyle/>
          <a:p>
            <a:r>
              <a:rPr lang="en-US"/>
              <a:t>Slide </a:t>
            </a:r>
            <a:fld id="{619F89D8-7AE3-494A-97F3-03D680869632}" type="slidenum">
              <a:rPr lang="en-US" smtClean="0"/>
              <a:pPr/>
              <a:t>22</a:t>
            </a:fld>
            <a:endParaRPr lang="en-US"/>
          </a:p>
        </p:txBody>
      </p:sp>
      <p:sp>
        <p:nvSpPr>
          <p:cNvPr id="24" name="Text Placeholder 23">
            <a:extLst>
              <a:ext uri="{FF2B5EF4-FFF2-40B4-BE49-F238E27FC236}">
                <a16:creationId xmlns:a16="http://schemas.microsoft.com/office/drawing/2014/main" id="{1BDEB303-700B-4881-8DB4-A8699F69BC40}"/>
              </a:ext>
            </a:extLst>
          </p:cNvPr>
          <p:cNvSpPr>
            <a:spLocks noGrp="1"/>
          </p:cNvSpPr>
          <p:nvPr>
            <p:ph type="body" sz="quarter" idx="16"/>
          </p:nvPr>
        </p:nvSpPr>
        <p:spPr/>
        <p:txBody>
          <a:bodyPr/>
          <a:lstStyle/>
          <a:p>
            <a:r>
              <a:rPr lang="en-US" dirty="0"/>
              <a:t>General guideline</a:t>
            </a:r>
          </a:p>
        </p:txBody>
      </p:sp>
      <p:sp>
        <p:nvSpPr>
          <p:cNvPr id="25" name="Content Placeholder 24">
            <a:extLst>
              <a:ext uri="{FF2B5EF4-FFF2-40B4-BE49-F238E27FC236}">
                <a16:creationId xmlns:a16="http://schemas.microsoft.com/office/drawing/2014/main" id="{4FA3EF48-CCF6-4F20-9F9F-2F297E11D182}"/>
              </a:ext>
            </a:extLst>
          </p:cNvPr>
          <p:cNvSpPr>
            <a:spLocks noGrp="1"/>
          </p:cNvSpPr>
          <p:nvPr>
            <p:ph sz="quarter" idx="19"/>
          </p:nvPr>
        </p:nvSpPr>
        <p:spPr/>
        <p:txBody>
          <a:bodyPr/>
          <a:lstStyle/>
          <a:p>
            <a:r>
              <a:rPr lang="en-US" altLang="zh-CN" dirty="0"/>
              <a:t>Keep a certain distance from  the wall according to the measuring distance (refer to the emitting angle )</a:t>
            </a:r>
          </a:p>
          <a:p>
            <a:endParaRPr lang="en-US" altLang="zh-CN" dirty="0"/>
          </a:p>
          <a:p>
            <a:r>
              <a:rPr lang="en-US" altLang="zh-CN" dirty="0"/>
              <a:t>Position the instrument in the middle if you need to measure a channel or weir</a:t>
            </a:r>
          </a:p>
          <a:p>
            <a:endParaRPr lang="en-US" altLang="zh-CN" dirty="0"/>
          </a:p>
          <a:p>
            <a:r>
              <a:rPr lang="en-US" altLang="zh-CN" dirty="0"/>
              <a:t>The bottom surface of the sensor should be in parallel with the water surface</a:t>
            </a:r>
          </a:p>
          <a:p>
            <a:endParaRPr lang="en-US" altLang="zh-CN" dirty="0"/>
          </a:p>
          <a:p>
            <a:r>
              <a:rPr lang="en-US" altLang="zh-CN" dirty="0"/>
              <a:t>The closer to the water surface the higher accuracy and stability you would get (400mm minimum considering  the blocking distance and safety distance)</a:t>
            </a:r>
          </a:p>
          <a:p>
            <a:endParaRPr lang="en-US" dirty="0"/>
          </a:p>
        </p:txBody>
      </p:sp>
      <p:sp>
        <p:nvSpPr>
          <p:cNvPr id="23" name="Subtitle 22">
            <a:extLst>
              <a:ext uri="{FF2B5EF4-FFF2-40B4-BE49-F238E27FC236}">
                <a16:creationId xmlns:a16="http://schemas.microsoft.com/office/drawing/2014/main" id="{7AD95B4C-518E-4BAF-B407-39027000B1D9}"/>
              </a:ext>
            </a:extLst>
          </p:cNvPr>
          <p:cNvSpPr>
            <a:spLocks noGrp="1"/>
          </p:cNvSpPr>
          <p:nvPr>
            <p:ph type="subTitle" idx="13"/>
          </p:nvPr>
        </p:nvSpPr>
        <p:spPr/>
        <p:txBody>
          <a:bodyPr/>
          <a:lstStyle/>
          <a:p>
            <a:r>
              <a:rPr lang="en-US" altLang="zh-CN" dirty="0"/>
              <a:t>Typical open basin &amp; pond measurement</a:t>
            </a:r>
            <a:endParaRPr lang="en-US" dirty="0"/>
          </a:p>
        </p:txBody>
      </p:sp>
      <p:pic>
        <p:nvPicPr>
          <p:cNvPr id="7" name="Picture 6">
            <a:extLst>
              <a:ext uri="{FF2B5EF4-FFF2-40B4-BE49-F238E27FC236}">
                <a16:creationId xmlns:a16="http://schemas.microsoft.com/office/drawing/2014/main" id="{5B072C79-CAA1-4075-A824-1EB9E2302A6F}"/>
              </a:ext>
            </a:extLst>
          </p:cNvPr>
          <p:cNvPicPr>
            <a:picLocks noChangeAspect="1"/>
          </p:cNvPicPr>
          <p:nvPr/>
        </p:nvPicPr>
        <p:blipFill>
          <a:blip r:embed="rId3"/>
          <a:stretch>
            <a:fillRect/>
          </a:stretch>
        </p:blipFill>
        <p:spPr>
          <a:xfrm>
            <a:off x="7121665" y="1996607"/>
            <a:ext cx="3665796" cy="1845716"/>
          </a:xfrm>
          <a:prstGeom prst="rect">
            <a:avLst/>
          </a:prstGeom>
        </p:spPr>
      </p:pic>
      <p:pic>
        <p:nvPicPr>
          <p:cNvPr id="10" name="Picture 9">
            <a:extLst>
              <a:ext uri="{FF2B5EF4-FFF2-40B4-BE49-F238E27FC236}">
                <a16:creationId xmlns:a16="http://schemas.microsoft.com/office/drawing/2014/main" id="{8995C245-F009-404F-952B-552A73F267A7}"/>
              </a:ext>
            </a:extLst>
          </p:cNvPr>
          <p:cNvPicPr>
            <a:picLocks noChangeAspect="1"/>
          </p:cNvPicPr>
          <p:nvPr/>
        </p:nvPicPr>
        <p:blipFill>
          <a:blip r:embed="rId4"/>
          <a:stretch>
            <a:fillRect/>
          </a:stretch>
        </p:blipFill>
        <p:spPr>
          <a:xfrm>
            <a:off x="7254112" y="3935616"/>
            <a:ext cx="3400902" cy="1837171"/>
          </a:xfrm>
          <a:prstGeom prst="rect">
            <a:avLst/>
          </a:prstGeom>
        </p:spPr>
      </p:pic>
    </p:spTree>
    <p:extLst>
      <p:ext uri="{BB962C8B-B14F-4D97-AF65-F5344CB8AC3E}">
        <p14:creationId xmlns:p14="http://schemas.microsoft.com/office/powerpoint/2010/main" val="2091769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4D1893-7CAE-44F9-8318-D62393636D68}"/>
              </a:ext>
            </a:extLst>
          </p:cNvPr>
          <p:cNvSpPr>
            <a:spLocks noGrp="1"/>
          </p:cNvSpPr>
          <p:nvPr>
            <p:ph type="title"/>
          </p:nvPr>
        </p:nvSpPr>
        <p:spPr/>
        <p:txBody>
          <a:bodyPr/>
          <a:lstStyle/>
          <a:p>
            <a:r>
              <a:rPr lang="en-US" altLang="zh-CN" dirty="0"/>
              <a:t>LST200 applications</a:t>
            </a:r>
            <a:br>
              <a:rPr lang="en-US" dirty="0"/>
            </a:br>
            <a:endParaRPr lang="en-US" dirty="0"/>
          </a:p>
        </p:txBody>
      </p:sp>
      <p:sp>
        <p:nvSpPr>
          <p:cNvPr id="5" name="Footer Placeholder 4">
            <a:extLst>
              <a:ext uri="{FF2B5EF4-FFF2-40B4-BE49-F238E27FC236}">
                <a16:creationId xmlns:a16="http://schemas.microsoft.com/office/drawing/2014/main" id="{64AF5C42-3451-4ADA-B792-3353785F5048}"/>
              </a:ext>
            </a:extLst>
          </p:cNvPr>
          <p:cNvSpPr>
            <a:spLocks noGrp="1"/>
          </p:cNvSpPr>
          <p:nvPr>
            <p:ph type="ftr" sz="quarter" idx="10"/>
          </p:nvPr>
        </p:nvSpPr>
        <p:spPr/>
        <p:txBody>
          <a:bodyPr/>
          <a:lstStyle/>
          <a:p>
            <a:pPr lvl="8"/>
            <a:endParaRPr lang="en-US"/>
          </a:p>
        </p:txBody>
      </p:sp>
      <p:sp>
        <p:nvSpPr>
          <p:cNvPr id="6" name="Slide Number Placeholder 5">
            <a:extLst>
              <a:ext uri="{FF2B5EF4-FFF2-40B4-BE49-F238E27FC236}">
                <a16:creationId xmlns:a16="http://schemas.microsoft.com/office/drawing/2014/main" id="{1A25F9FB-736A-4DED-98FB-79F4F03575E1}"/>
              </a:ext>
            </a:extLst>
          </p:cNvPr>
          <p:cNvSpPr>
            <a:spLocks noGrp="1"/>
          </p:cNvSpPr>
          <p:nvPr>
            <p:ph type="sldNum" sz="quarter" idx="12"/>
          </p:nvPr>
        </p:nvSpPr>
        <p:spPr/>
        <p:txBody>
          <a:bodyPr/>
          <a:lstStyle/>
          <a:p>
            <a:r>
              <a:rPr lang="en-US"/>
              <a:t>Slide </a:t>
            </a:r>
            <a:fld id="{619F89D8-7AE3-494A-97F3-03D680869632}" type="slidenum">
              <a:rPr lang="en-US" smtClean="0"/>
              <a:pPr/>
              <a:t>23</a:t>
            </a:fld>
            <a:endParaRPr lang="en-US"/>
          </a:p>
        </p:txBody>
      </p:sp>
      <p:sp>
        <p:nvSpPr>
          <p:cNvPr id="24" name="Text Placeholder 23">
            <a:extLst>
              <a:ext uri="{FF2B5EF4-FFF2-40B4-BE49-F238E27FC236}">
                <a16:creationId xmlns:a16="http://schemas.microsoft.com/office/drawing/2014/main" id="{1BDEB303-700B-4881-8DB4-A8699F69BC40}"/>
              </a:ext>
            </a:extLst>
          </p:cNvPr>
          <p:cNvSpPr>
            <a:spLocks noGrp="1"/>
          </p:cNvSpPr>
          <p:nvPr>
            <p:ph type="body" sz="quarter" idx="16"/>
          </p:nvPr>
        </p:nvSpPr>
        <p:spPr/>
        <p:txBody>
          <a:bodyPr/>
          <a:lstStyle/>
          <a:p>
            <a:r>
              <a:rPr lang="en-US" dirty="0"/>
              <a:t>LST200 on </a:t>
            </a:r>
            <a:r>
              <a:rPr lang="en-US" altLang="zh-CN" dirty="0"/>
              <a:t>aeration basin</a:t>
            </a:r>
            <a:endParaRPr lang="en-US" dirty="0"/>
          </a:p>
        </p:txBody>
      </p:sp>
      <p:sp>
        <p:nvSpPr>
          <p:cNvPr id="25" name="Content Placeholder 24">
            <a:extLst>
              <a:ext uri="{FF2B5EF4-FFF2-40B4-BE49-F238E27FC236}">
                <a16:creationId xmlns:a16="http://schemas.microsoft.com/office/drawing/2014/main" id="{4FA3EF48-CCF6-4F20-9F9F-2F297E11D182}"/>
              </a:ext>
            </a:extLst>
          </p:cNvPr>
          <p:cNvSpPr>
            <a:spLocks noGrp="1"/>
          </p:cNvSpPr>
          <p:nvPr>
            <p:ph sz="quarter" idx="19"/>
          </p:nvPr>
        </p:nvSpPr>
        <p:spPr/>
        <p:txBody>
          <a:bodyPr/>
          <a:lstStyle/>
          <a:p>
            <a:r>
              <a:rPr lang="en-US" altLang="zh-CN" dirty="0"/>
              <a:t>An aeration basin (also called aeration lagoon) is a holding and/or treatment pond provided with artificial aeration to promote the biochemical oxidation of wastewaters.</a:t>
            </a:r>
          </a:p>
          <a:p>
            <a:r>
              <a:rPr lang="en-US" altLang="zh-CN" dirty="0"/>
              <a:t>High stability is achieved by a sophisticated algorithm (GAP) that enables the LST200 to detect and automatically compensate for any instability in the strength of the ultrasonic signal. This makes the LST200 a good choice in process basins for aeration, chlorine contact, skimmer tanks, sedimentation and flotation thickeners where there can be unstable surface echo from foam or turbulence.</a:t>
            </a:r>
          </a:p>
          <a:p>
            <a:r>
              <a:rPr lang="en-US" altLang="zh-CN" dirty="0"/>
              <a:t>Also, the backlit display with easy setup menu helps to simplify outdoor installation and commissioning. </a:t>
            </a:r>
            <a:endParaRPr lang="zh-CN" altLang="zh-CN" dirty="0"/>
          </a:p>
        </p:txBody>
      </p:sp>
      <p:sp>
        <p:nvSpPr>
          <p:cNvPr id="23" name="Subtitle 22">
            <a:extLst>
              <a:ext uri="{FF2B5EF4-FFF2-40B4-BE49-F238E27FC236}">
                <a16:creationId xmlns:a16="http://schemas.microsoft.com/office/drawing/2014/main" id="{7AD95B4C-518E-4BAF-B407-39027000B1D9}"/>
              </a:ext>
            </a:extLst>
          </p:cNvPr>
          <p:cNvSpPr>
            <a:spLocks noGrp="1"/>
          </p:cNvSpPr>
          <p:nvPr>
            <p:ph type="subTitle" idx="13"/>
          </p:nvPr>
        </p:nvSpPr>
        <p:spPr/>
        <p:txBody>
          <a:bodyPr/>
          <a:lstStyle/>
          <a:p>
            <a:r>
              <a:rPr lang="en-US" altLang="zh-CN" dirty="0"/>
              <a:t>Typical open basin &amp; pond measurement - s</a:t>
            </a:r>
            <a:r>
              <a:rPr lang="en-US" dirty="0"/>
              <a:t>uccessful story</a:t>
            </a:r>
          </a:p>
        </p:txBody>
      </p:sp>
      <p:pic>
        <p:nvPicPr>
          <p:cNvPr id="12" name="Picture 11">
            <a:extLst>
              <a:ext uri="{FF2B5EF4-FFF2-40B4-BE49-F238E27FC236}">
                <a16:creationId xmlns:a16="http://schemas.microsoft.com/office/drawing/2014/main" id="{6628FD3A-6A7E-44CA-9FC8-1259B95A012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8501357" y="3447422"/>
            <a:ext cx="3404872" cy="2464691"/>
          </a:xfrm>
          <a:prstGeom prst="rect">
            <a:avLst/>
          </a:prstGeom>
        </p:spPr>
      </p:pic>
      <p:pic>
        <p:nvPicPr>
          <p:cNvPr id="10" name="Picture 9" descr="A picture containing old, sitting, wooden, wood&#10;&#10;Description automatically generated">
            <a:extLst>
              <a:ext uri="{FF2B5EF4-FFF2-40B4-BE49-F238E27FC236}">
                <a16:creationId xmlns:a16="http://schemas.microsoft.com/office/drawing/2014/main" id="{35C063FE-9026-4B9E-A2C9-E3F1765C715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253538" y="1931192"/>
            <a:ext cx="3122916" cy="2222615"/>
          </a:xfrm>
          <a:prstGeom prst="rect">
            <a:avLst/>
          </a:prstGeom>
        </p:spPr>
      </p:pic>
    </p:spTree>
    <p:extLst>
      <p:ext uri="{BB962C8B-B14F-4D97-AF65-F5344CB8AC3E}">
        <p14:creationId xmlns:p14="http://schemas.microsoft.com/office/powerpoint/2010/main" val="263257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4D1893-7CAE-44F9-8318-D62393636D68}"/>
              </a:ext>
            </a:extLst>
          </p:cNvPr>
          <p:cNvSpPr>
            <a:spLocks noGrp="1"/>
          </p:cNvSpPr>
          <p:nvPr>
            <p:ph type="title"/>
          </p:nvPr>
        </p:nvSpPr>
        <p:spPr/>
        <p:txBody>
          <a:bodyPr/>
          <a:lstStyle/>
          <a:p>
            <a:r>
              <a:rPr lang="en-US" altLang="zh-CN" dirty="0"/>
              <a:t>LST200 applications</a:t>
            </a:r>
            <a:br>
              <a:rPr lang="en-US" dirty="0"/>
            </a:br>
            <a:endParaRPr lang="en-US" dirty="0"/>
          </a:p>
        </p:txBody>
      </p:sp>
      <p:sp>
        <p:nvSpPr>
          <p:cNvPr id="5" name="Footer Placeholder 4">
            <a:extLst>
              <a:ext uri="{FF2B5EF4-FFF2-40B4-BE49-F238E27FC236}">
                <a16:creationId xmlns:a16="http://schemas.microsoft.com/office/drawing/2014/main" id="{64AF5C42-3451-4ADA-B792-3353785F5048}"/>
              </a:ext>
            </a:extLst>
          </p:cNvPr>
          <p:cNvSpPr>
            <a:spLocks noGrp="1"/>
          </p:cNvSpPr>
          <p:nvPr>
            <p:ph type="ftr" sz="quarter" idx="10"/>
          </p:nvPr>
        </p:nvSpPr>
        <p:spPr/>
        <p:txBody>
          <a:bodyPr/>
          <a:lstStyle/>
          <a:p>
            <a:pPr lvl="8"/>
            <a:endParaRPr lang="en-US"/>
          </a:p>
        </p:txBody>
      </p:sp>
      <p:sp>
        <p:nvSpPr>
          <p:cNvPr id="6" name="Slide Number Placeholder 5">
            <a:extLst>
              <a:ext uri="{FF2B5EF4-FFF2-40B4-BE49-F238E27FC236}">
                <a16:creationId xmlns:a16="http://schemas.microsoft.com/office/drawing/2014/main" id="{1A25F9FB-736A-4DED-98FB-79F4F03575E1}"/>
              </a:ext>
            </a:extLst>
          </p:cNvPr>
          <p:cNvSpPr>
            <a:spLocks noGrp="1"/>
          </p:cNvSpPr>
          <p:nvPr>
            <p:ph type="sldNum" sz="quarter" idx="12"/>
          </p:nvPr>
        </p:nvSpPr>
        <p:spPr/>
        <p:txBody>
          <a:bodyPr/>
          <a:lstStyle/>
          <a:p>
            <a:r>
              <a:rPr lang="en-US"/>
              <a:t>Slide </a:t>
            </a:r>
            <a:fld id="{619F89D8-7AE3-494A-97F3-03D680869632}" type="slidenum">
              <a:rPr lang="en-US" smtClean="0"/>
              <a:pPr/>
              <a:t>24</a:t>
            </a:fld>
            <a:endParaRPr lang="en-US"/>
          </a:p>
        </p:txBody>
      </p:sp>
      <p:sp>
        <p:nvSpPr>
          <p:cNvPr id="24" name="Text Placeholder 23">
            <a:extLst>
              <a:ext uri="{FF2B5EF4-FFF2-40B4-BE49-F238E27FC236}">
                <a16:creationId xmlns:a16="http://schemas.microsoft.com/office/drawing/2014/main" id="{1BDEB303-700B-4881-8DB4-A8699F69BC40}"/>
              </a:ext>
            </a:extLst>
          </p:cNvPr>
          <p:cNvSpPr>
            <a:spLocks noGrp="1"/>
          </p:cNvSpPr>
          <p:nvPr>
            <p:ph type="body" sz="quarter" idx="16"/>
          </p:nvPr>
        </p:nvSpPr>
        <p:spPr/>
        <p:txBody>
          <a:bodyPr/>
          <a:lstStyle/>
          <a:p>
            <a:r>
              <a:rPr lang="en-US" dirty="0"/>
              <a:t>LST200 on cooling tower</a:t>
            </a:r>
          </a:p>
        </p:txBody>
      </p:sp>
      <p:sp>
        <p:nvSpPr>
          <p:cNvPr id="25" name="Content Placeholder 24">
            <a:extLst>
              <a:ext uri="{FF2B5EF4-FFF2-40B4-BE49-F238E27FC236}">
                <a16:creationId xmlns:a16="http://schemas.microsoft.com/office/drawing/2014/main" id="{4FA3EF48-CCF6-4F20-9F9F-2F297E11D182}"/>
              </a:ext>
            </a:extLst>
          </p:cNvPr>
          <p:cNvSpPr>
            <a:spLocks noGrp="1"/>
          </p:cNvSpPr>
          <p:nvPr>
            <p:ph sz="quarter" idx="19"/>
          </p:nvPr>
        </p:nvSpPr>
        <p:spPr/>
        <p:txBody>
          <a:bodyPr/>
          <a:lstStyle/>
          <a:p>
            <a:r>
              <a:rPr lang="en-US" altLang="zh-CN" dirty="0"/>
              <a:t>Foam and t</a:t>
            </a:r>
            <a:r>
              <a:rPr lang="en-US" dirty="0"/>
              <a:t>urbulence could cause diffused reflection which could make the strength of the return signal unstable  </a:t>
            </a:r>
          </a:p>
          <a:p>
            <a:pPr marL="285750" indent="-285750">
              <a:buFont typeface="ABBvoice" panose="020D0603020503020204" pitchFamily="34" charset="0"/>
              <a:buChar char="–"/>
            </a:pPr>
            <a:r>
              <a:rPr lang="en-US" dirty="0"/>
              <a:t>GAP technology will smartly adjust the signal strength and ensures LST200 always work at its best condition</a:t>
            </a:r>
          </a:p>
          <a:p>
            <a:endParaRPr lang="en-US" dirty="0"/>
          </a:p>
          <a:p>
            <a:r>
              <a:rPr lang="en-US" altLang="zh-CN" dirty="0"/>
              <a:t>Splash could cause random noise to the sensor</a:t>
            </a:r>
          </a:p>
          <a:p>
            <a:pPr marL="285750" indent="-285750">
              <a:buFont typeface="ABBvoice" panose="020D0603020503020204" pitchFamily="34" charset="0"/>
              <a:buChar char="–"/>
            </a:pPr>
            <a:r>
              <a:rPr lang="en-US" altLang="zh-CN" dirty="0"/>
              <a:t>Nosie filtering algorithm will smartly identify the noise and get rid of them</a:t>
            </a:r>
          </a:p>
          <a:p>
            <a:endParaRPr lang="en-US" dirty="0"/>
          </a:p>
          <a:p>
            <a:endParaRPr lang="en-US" dirty="0"/>
          </a:p>
        </p:txBody>
      </p:sp>
      <p:sp>
        <p:nvSpPr>
          <p:cNvPr id="23" name="Subtitle 22">
            <a:extLst>
              <a:ext uri="{FF2B5EF4-FFF2-40B4-BE49-F238E27FC236}">
                <a16:creationId xmlns:a16="http://schemas.microsoft.com/office/drawing/2014/main" id="{7AD95B4C-518E-4BAF-B407-39027000B1D9}"/>
              </a:ext>
            </a:extLst>
          </p:cNvPr>
          <p:cNvSpPr>
            <a:spLocks noGrp="1"/>
          </p:cNvSpPr>
          <p:nvPr>
            <p:ph type="subTitle" idx="13"/>
          </p:nvPr>
        </p:nvSpPr>
        <p:spPr/>
        <p:txBody>
          <a:bodyPr/>
          <a:lstStyle/>
          <a:p>
            <a:r>
              <a:rPr lang="en-US" altLang="zh-CN" dirty="0"/>
              <a:t>Typical open basin &amp; pond measurement - s</a:t>
            </a:r>
            <a:r>
              <a:rPr lang="en-US" dirty="0"/>
              <a:t>uccessful story</a:t>
            </a:r>
          </a:p>
          <a:p>
            <a:endParaRPr lang="en-US" dirty="0"/>
          </a:p>
        </p:txBody>
      </p:sp>
      <p:pic>
        <p:nvPicPr>
          <p:cNvPr id="7" name="Picture 6" descr="A picture containing outdoor, building, water, snow&#10;&#10;Description automatically generated">
            <a:extLst>
              <a:ext uri="{FF2B5EF4-FFF2-40B4-BE49-F238E27FC236}">
                <a16:creationId xmlns:a16="http://schemas.microsoft.com/office/drawing/2014/main" id="{816819D7-4B8E-47A2-82F2-FA47875D4A5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53538" y="2061662"/>
            <a:ext cx="5599726" cy="3850454"/>
          </a:xfrm>
          <a:prstGeom prst="rect">
            <a:avLst/>
          </a:prstGeom>
        </p:spPr>
      </p:pic>
    </p:spTree>
    <p:extLst>
      <p:ext uri="{BB962C8B-B14F-4D97-AF65-F5344CB8AC3E}">
        <p14:creationId xmlns:p14="http://schemas.microsoft.com/office/powerpoint/2010/main" val="2647265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2436E-E2F1-4798-9CD2-17F656327B90}"/>
              </a:ext>
            </a:extLst>
          </p:cNvPr>
          <p:cNvSpPr>
            <a:spLocks noGrp="1"/>
          </p:cNvSpPr>
          <p:nvPr>
            <p:ph type="title"/>
          </p:nvPr>
        </p:nvSpPr>
        <p:spPr/>
        <p:txBody>
          <a:bodyPr/>
          <a:lstStyle/>
          <a:p>
            <a:r>
              <a:rPr lang="en-US" altLang="zh-CN" dirty="0"/>
              <a:t>LST200 applications</a:t>
            </a:r>
            <a:endParaRPr lang="en-US" dirty="0"/>
          </a:p>
        </p:txBody>
      </p:sp>
      <p:sp>
        <p:nvSpPr>
          <p:cNvPr id="3" name="Footer Placeholder 2">
            <a:extLst>
              <a:ext uri="{FF2B5EF4-FFF2-40B4-BE49-F238E27FC236}">
                <a16:creationId xmlns:a16="http://schemas.microsoft.com/office/drawing/2014/main" id="{43B240C9-795E-46FB-9E9A-772EEB000F48}"/>
              </a:ext>
            </a:extLst>
          </p:cNvPr>
          <p:cNvSpPr>
            <a:spLocks noGrp="1"/>
          </p:cNvSpPr>
          <p:nvPr>
            <p:ph type="ftr" sz="quarter" idx="10"/>
          </p:nvPr>
        </p:nvSpPr>
        <p:spPr/>
        <p:txBody>
          <a:bodyPr/>
          <a:lstStyle/>
          <a:p>
            <a:pPr lvl="8"/>
            <a:endParaRPr lang="en-US"/>
          </a:p>
        </p:txBody>
      </p:sp>
      <p:sp>
        <p:nvSpPr>
          <p:cNvPr id="5" name="Slide Number Placeholder 4">
            <a:extLst>
              <a:ext uri="{FF2B5EF4-FFF2-40B4-BE49-F238E27FC236}">
                <a16:creationId xmlns:a16="http://schemas.microsoft.com/office/drawing/2014/main" id="{0D920F75-ABB6-4357-923C-EE2215EB1CBA}"/>
              </a:ext>
            </a:extLst>
          </p:cNvPr>
          <p:cNvSpPr>
            <a:spLocks noGrp="1"/>
          </p:cNvSpPr>
          <p:nvPr>
            <p:ph type="sldNum" sz="quarter" idx="12"/>
          </p:nvPr>
        </p:nvSpPr>
        <p:spPr/>
        <p:txBody>
          <a:bodyPr/>
          <a:lstStyle/>
          <a:p>
            <a:r>
              <a:rPr lang="en-US"/>
              <a:t>Slide </a:t>
            </a:r>
            <a:fld id="{619F89D8-7AE3-494A-97F3-03D680869632}" type="slidenum">
              <a:rPr lang="en-US" smtClean="0"/>
              <a:pPr/>
              <a:t>25</a:t>
            </a:fld>
            <a:endParaRPr lang="en-US"/>
          </a:p>
        </p:txBody>
      </p:sp>
      <p:sp>
        <p:nvSpPr>
          <p:cNvPr id="15" name="Text Placeholder 14">
            <a:extLst>
              <a:ext uri="{FF2B5EF4-FFF2-40B4-BE49-F238E27FC236}">
                <a16:creationId xmlns:a16="http://schemas.microsoft.com/office/drawing/2014/main" id="{D62A2587-D783-49C8-A28C-969AB607CD09}"/>
              </a:ext>
            </a:extLst>
          </p:cNvPr>
          <p:cNvSpPr>
            <a:spLocks noGrp="1"/>
          </p:cNvSpPr>
          <p:nvPr>
            <p:ph type="body" sz="quarter" idx="16"/>
          </p:nvPr>
        </p:nvSpPr>
        <p:spPr>
          <a:xfrm>
            <a:off x="333264" y="1740414"/>
            <a:ext cx="4093766" cy="252000"/>
          </a:xfrm>
        </p:spPr>
        <p:txBody>
          <a:bodyPr/>
          <a:lstStyle/>
          <a:p>
            <a:r>
              <a:rPr lang="en-US" altLang="zh-CN" b="0" dirty="0"/>
              <a:t> </a:t>
            </a:r>
            <a:r>
              <a:rPr lang="en-US" altLang="zh-CN" dirty="0"/>
              <a:t>Ultrasonic is a good partner with open channel flow</a:t>
            </a:r>
          </a:p>
          <a:p>
            <a:endParaRPr lang="en-US" altLang="zh-CN" dirty="0"/>
          </a:p>
        </p:txBody>
      </p:sp>
      <p:sp>
        <p:nvSpPr>
          <p:cNvPr id="7" name="Content Placeholder 6">
            <a:extLst>
              <a:ext uri="{FF2B5EF4-FFF2-40B4-BE49-F238E27FC236}">
                <a16:creationId xmlns:a16="http://schemas.microsoft.com/office/drawing/2014/main" id="{8A8DB003-CE2D-484B-A35B-82EECC138050}"/>
              </a:ext>
            </a:extLst>
          </p:cNvPr>
          <p:cNvSpPr>
            <a:spLocks noGrp="1"/>
          </p:cNvSpPr>
          <p:nvPr>
            <p:ph sz="quarter" idx="19"/>
          </p:nvPr>
        </p:nvSpPr>
        <p:spPr/>
        <p:txBody>
          <a:bodyPr/>
          <a:lstStyle/>
          <a:p>
            <a:pPr marL="0" lvl="1" indent="0">
              <a:lnSpc>
                <a:spcPct val="85000"/>
              </a:lnSpc>
              <a:spcBef>
                <a:spcPct val="15000"/>
              </a:spcBef>
              <a:spcAft>
                <a:spcPct val="5000"/>
              </a:spcAft>
              <a:buNone/>
            </a:pPr>
            <a:endParaRPr lang="en-US" altLang="zh-CN" dirty="0">
              <a:ea typeface="ＭＳ Ｐゴシック" pitchFamily="34" charset="-128"/>
            </a:endParaRPr>
          </a:p>
          <a:p>
            <a:pPr marL="0" lvl="1" indent="0">
              <a:lnSpc>
                <a:spcPct val="85000"/>
              </a:lnSpc>
              <a:spcBef>
                <a:spcPct val="15000"/>
              </a:spcBef>
              <a:spcAft>
                <a:spcPct val="5000"/>
              </a:spcAft>
              <a:buNone/>
            </a:pPr>
            <a:endParaRPr lang="en-US" altLang="zh-CN" dirty="0">
              <a:ea typeface="ＭＳ Ｐゴシック" pitchFamily="34" charset="-128"/>
            </a:endParaRPr>
          </a:p>
          <a:p>
            <a:pPr marL="0" lvl="1" indent="0">
              <a:lnSpc>
                <a:spcPct val="85000"/>
              </a:lnSpc>
              <a:spcBef>
                <a:spcPct val="15000"/>
              </a:spcBef>
              <a:spcAft>
                <a:spcPct val="5000"/>
              </a:spcAft>
              <a:buNone/>
            </a:pPr>
            <a:r>
              <a:rPr lang="en-US" altLang="zh-CN" dirty="0">
                <a:ea typeface="ＭＳ Ｐゴシック" pitchFamily="34" charset="-128"/>
              </a:rPr>
              <a:t>In the water industry we often encounter open channels. Using a man-made structure</a:t>
            </a:r>
          </a:p>
          <a:p>
            <a:pPr marL="0" lvl="1" indent="0">
              <a:lnSpc>
                <a:spcPct val="85000"/>
              </a:lnSpc>
              <a:spcBef>
                <a:spcPct val="15000"/>
              </a:spcBef>
              <a:spcAft>
                <a:spcPct val="5000"/>
              </a:spcAft>
              <a:buNone/>
            </a:pPr>
            <a:r>
              <a:rPr lang="en-US" altLang="zh-CN" dirty="0">
                <a:ea typeface="ＭＳ Ｐゴシック" pitchFamily="34" charset="-128"/>
              </a:rPr>
              <a:t>with an open surface, water can flow freely relying only on the force of gravity. There are no pumps used and no pressure applied.</a:t>
            </a:r>
          </a:p>
          <a:p>
            <a:pPr marL="0" lvl="1" indent="0">
              <a:lnSpc>
                <a:spcPct val="85000"/>
              </a:lnSpc>
              <a:spcBef>
                <a:spcPct val="15000"/>
              </a:spcBef>
              <a:spcAft>
                <a:spcPct val="5000"/>
              </a:spcAft>
              <a:buNone/>
            </a:pPr>
            <a:endParaRPr lang="en-US" altLang="zh-CN" dirty="0">
              <a:ea typeface="ＭＳ Ｐゴシック" pitchFamily="34" charset="-128"/>
            </a:endParaRPr>
          </a:p>
          <a:p>
            <a:r>
              <a:rPr lang="en-US" dirty="0"/>
              <a:t>Today it has become common for a level meter to measure the flow through this channel by using only the level and a preconfigured relationship. This relationship is performed by using a linearization function.</a:t>
            </a:r>
            <a:endParaRPr lang="en-US" altLang="zh-CN" dirty="0"/>
          </a:p>
          <a:p>
            <a:endParaRPr lang="en-US" altLang="zh-CN" dirty="0"/>
          </a:p>
          <a:p>
            <a:pPr marL="285750" indent="-285750">
              <a:buFont typeface="ABBvoice" panose="020D0603020503020204" pitchFamily="34" charset="0"/>
              <a:buChar char="–"/>
            </a:pPr>
            <a:endParaRPr lang="en-US" dirty="0"/>
          </a:p>
        </p:txBody>
      </p:sp>
      <p:sp>
        <p:nvSpPr>
          <p:cNvPr id="14" name="Subtitle 13">
            <a:extLst>
              <a:ext uri="{FF2B5EF4-FFF2-40B4-BE49-F238E27FC236}">
                <a16:creationId xmlns:a16="http://schemas.microsoft.com/office/drawing/2014/main" id="{C9294AFE-CB24-461B-9CDB-618C609B8619}"/>
              </a:ext>
            </a:extLst>
          </p:cNvPr>
          <p:cNvSpPr>
            <a:spLocks noGrp="1"/>
          </p:cNvSpPr>
          <p:nvPr>
            <p:ph type="subTitle" idx="13"/>
          </p:nvPr>
        </p:nvSpPr>
        <p:spPr/>
        <p:txBody>
          <a:bodyPr/>
          <a:lstStyle/>
          <a:p>
            <a:r>
              <a:rPr lang="de-DE" altLang="zh-CN" dirty="0"/>
              <a:t>Open channel flow - principle</a:t>
            </a:r>
            <a:endParaRPr lang="en-US" dirty="0"/>
          </a:p>
        </p:txBody>
      </p:sp>
      <p:pic>
        <p:nvPicPr>
          <p:cNvPr id="16" name="Picture 15">
            <a:extLst>
              <a:ext uri="{FF2B5EF4-FFF2-40B4-BE49-F238E27FC236}">
                <a16:creationId xmlns:a16="http://schemas.microsoft.com/office/drawing/2014/main" id="{650E6B06-DE55-4540-B533-6130929B7B8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65524" y="2812647"/>
            <a:ext cx="3209519" cy="1776487"/>
          </a:xfrm>
          <a:prstGeom prst="rect">
            <a:avLst/>
          </a:prstGeom>
        </p:spPr>
      </p:pic>
      <p:sp>
        <p:nvSpPr>
          <p:cNvPr id="6" name="Rectangle 5">
            <a:extLst>
              <a:ext uri="{FF2B5EF4-FFF2-40B4-BE49-F238E27FC236}">
                <a16:creationId xmlns:a16="http://schemas.microsoft.com/office/drawing/2014/main" id="{B0E51038-79DC-4FD5-B6FB-C55183FEEC2A}"/>
              </a:ext>
            </a:extLst>
          </p:cNvPr>
          <p:cNvSpPr/>
          <p:nvPr/>
        </p:nvSpPr>
        <p:spPr>
          <a:xfrm>
            <a:off x="4865524" y="4960756"/>
            <a:ext cx="2454583" cy="369332"/>
          </a:xfrm>
          <a:prstGeom prst="rect">
            <a:avLst/>
          </a:prstGeom>
        </p:spPr>
        <p:txBody>
          <a:bodyPr wrap="none">
            <a:spAutoFit/>
          </a:bodyPr>
          <a:lstStyle/>
          <a:p>
            <a:r>
              <a:rPr lang="en-US" dirty="0">
                <a:latin typeface="HelveticaNeueLT-Light"/>
              </a:rPr>
              <a:t>V-Notch open channel</a:t>
            </a:r>
            <a:endParaRPr lang="en-US" dirty="0"/>
          </a:p>
        </p:txBody>
      </p:sp>
      <p:pic>
        <p:nvPicPr>
          <p:cNvPr id="19" name="Picture 18">
            <a:extLst>
              <a:ext uri="{FF2B5EF4-FFF2-40B4-BE49-F238E27FC236}">
                <a16:creationId xmlns:a16="http://schemas.microsoft.com/office/drawing/2014/main" id="{0F803D3C-289A-488D-9700-CDD41DEF6DF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075043" y="1646183"/>
            <a:ext cx="3565706" cy="4368970"/>
          </a:xfrm>
          <a:prstGeom prst="rect">
            <a:avLst/>
          </a:prstGeom>
        </p:spPr>
      </p:pic>
    </p:spTree>
    <p:extLst>
      <p:ext uri="{BB962C8B-B14F-4D97-AF65-F5344CB8AC3E}">
        <p14:creationId xmlns:p14="http://schemas.microsoft.com/office/powerpoint/2010/main" val="2705157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2436E-E2F1-4798-9CD2-17F656327B90}"/>
              </a:ext>
            </a:extLst>
          </p:cNvPr>
          <p:cNvSpPr>
            <a:spLocks noGrp="1"/>
          </p:cNvSpPr>
          <p:nvPr>
            <p:ph type="title"/>
          </p:nvPr>
        </p:nvSpPr>
        <p:spPr/>
        <p:txBody>
          <a:bodyPr/>
          <a:lstStyle/>
          <a:p>
            <a:r>
              <a:rPr lang="en-US" altLang="zh-CN" dirty="0"/>
              <a:t>LST200 applications</a:t>
            </a:r>
            <a:endParaRPr lang="en-US" dirty="0"/>
          </a:p>
        </p:txBody>
      </p:sp>
      <p:sp>
        <p:nvSpPr>
          <p:cNvPr id="3" name="Footer Placeholder 2">
            <a:extLst>
              <a:ext uri="{FF2B5EF4-FFF2-40B4-BE49-F238E27FC236}">
                <a16:creationId xmlns:a16="http://schemas.microsoft.com/office/drawing/2014/main" id="{43B240C9-795E-46FB-9E9A-772EEB000F48}"/>
              </a:ext>
            </a:extLst>
          </p:cNvPr>
          <p:cNvSpPr>
            <a:spLocks noGrp="1"/>
          </p:cNvSpPr>
          <p:nvPr>
            <p:ph type="ftr" sz="quarter" idx="10"/>
          </p:nvPr>
        </p:nvSpPr>
        <p:spPr/>
        <p:txBody>
          <a:bodyPr/>
          <a:lstStyle/>
          <a:p>
            <a:pPr lvl="8"/>
            <a:endParaRPr lang="en-US"/>
          </a:p>
        </p:txBody>
      </p:sp>
      <p:sp>
        <p:nvSpPr>
          <p:cNvPr id="5" name="Slide Number Placeholder 4">
            <a:extLst>
              <a:ext uri="{FF2B5EF4-FFF2-40B4-BE49-F238E27FC236}">
                <a16:creationId xmlns:a16="http://schemas.microsoft.com/office/drawing/2014/main" id="{0D920F75-ABB6-4357-923C-EE2215EB1CBA}"/>
              </a:ext>
            </a:extLst>
          </p:cNvPr>
          <p:cNvSpPr>
            <a:spLocks noGrp="1"/>
          </p:cNvSpPr>
          <p:nvPr>
            <p:ph type="sldNum" sz="quarter" idx="12"/>
          </p:nvPr>
        </p:nvSpPr>
        <p:spPr/>
        <p:txBody>
          <a:bodyPr/>
          <a:lstStyle/>
          <a:p>
            <a:r>
              <a:rPr lang="en-US"/>
              <a:t>Slide </a:t>
            </a:r>
            <a:fld id="{619F89D8-7AE3-494A-97F3-03D680869632}" type="slidenum">
              <a:rPr lang="en-US" smtClean="0"/>
              <a:pPr/>
              <a:t>26</a:t>
            </a:fld>
            <a:endParaRPr lang="en-US"/>
          </a:p>
        </p:txBody>
      </p:sp>
      <p:sp>
        <p:nvSpPr>
          <p:cNvPr id="15" name="Text Placeholder 14">
            <a:extLst>
              <a:ext uri="{FF2B5EF4-FFF2-40B4-BE49-F238E27FC236}">
                <a16:creationId xmlns:a16="http://schemas.microsoft.com/office/drawing/2014/main" id="{D62A2587-D783-49C8-A28C-969AB607CD09}"/>
              </a:ext>
            </a:extLst>
          </p:cNvPr>
          <p:cNvSpPr>
            <a:spLocks noGrp="1"/>
          </p:cNvSpPr>
          <p:nvPr>
            <p:ph type="body" sz="quarter" idx="16"/>
          </p:nvPr>
        </p:nvSpPr>
        <p:spPr/>
        <p:txBody>
          <a:bodyPr/>
          <a:lstStyle/>
          <a:p>
            <a:r>
              <a:rPr lang="en-US" altLang="zh-CN" dirty="0"/>
              <a:t>Applications and advantages</a:t>
            </a:r>
          </a:p>
        </p:txBody>
      </p:sp>
      <p:sp>
        <p:nvSpPr>
          <p:cNvPr id="7" name="Content Placeholder 6">
            <a:extLst>
              <a:ext uri="{FF2B5EF4-FFF2-40B4-BE49-F238E27FC236}">
                <a16:creationId xmlns:a16="http://schemas.microsoft.com/office/drawing/2014/main" id="{8A8DB003-CE2D-484B-A35B-82EECC138050}"/>
              </a:ext>
            </a:extLst>
          </p:cNvPr>
          <p:cNvSpPr>
            <a:spLocks noGrp="1"/>
          </p:cNvSpPr>
          <p:nvPr>
            <p:ph sz="quarter" idx="19"/>
          </p:nvPr>
        </p:nvSpPr>
        <p:spPr/>
        <p:txBody>
          <a:bodyPr/>
          <a:lstStyle/>
          <a:p>
            <a:pPr marL="0" lvl="1" indent="0">
              <a:lnSpc>
                <a:spcPct val="85000"/>
              </a:lnSpc>
              <a:spcBef>
                <a:spcPct val="15000"/>
              </a:spcBef>
              <a:spcAft>
                <a:spcPts val="1200"/>
              </a:spcAft>
              <a:buNone/>
            </a:pPr>
            <a:r>
              <a:rPr lang="en-US" altLang="zh-CN" dirty="0">
                <a:ea typeface="ＭＳ Ｐゴシック" pitchFamily="34" charset="-128"/>
              </a:rPr>
              <a:t>Open channel flow measurement is widely used for agriculture, water/wastewater, power station, etc. with below advantages</a:t>
            </a:r>
          </a:p>
          <a:p>
            <a:pPr lvl="1">
              <a:lnSpc>
                <a:spcPct val="85000"/>
              </a:lnSpc>
              <a:spcBef>
                <a:spcPct val="15000"/>
              </a:spcBef>
              <a:spcAft>
                <a:spcPts val="1200"/>
              </a:spcAft>
              <a:buFont typeface="ABBvoice" panose="020D0603020503020204" pitchFamily="34" charset="0"/>
              <a:buChar char="–"/>
            </a:pPr>
            <a:r>
              <a:rPr lang="en-US" altLang="zh-CN" dirty="0">
                <a:ea typeface="ＭＳ Ｐゴシック" pitchFamily="34" charset="-128"/>
              </a:rPr>
              <a:t>Easy set up and maintenance</a:t>
            </a:r>
          </a:p>
          <a:p>
            <a:pPr lvl="1">
              <a:lnSpc>
                <a:spcPct val="85000"/>
              </a:lnSpc>
              <a:spcBef>
                <a:spcPct val="15000"/>
              </a:spcBef>
              <a:spcAft>
                <a:spcPts val="1200"/>
              </a:spcAft>
              <a:buFont typeface="ABBvoice" panose="020D0603020503020204" pitchFamily="34" charset="0"/>
              <a:buChar char="–"/>
            </a:pPr>
            <a:r>
              <a:rPr lang="en-US" altLang="zh-CN" dirty="0">
                <a:ea typeface="ＭＳ Ｐゴシック" pitchFamily="34" charset="-128"/>
              </a:rPr>
              <a:t>Wide measurement range</a:t>
            </a:r>
          </a:p>
          <a:p>
            <a:pPr lvl="1">
              <a:lnSpc>
                <a:spcPct val="85000"/>
              </a:lnSpc>
              <a:spcBef>
                <a:spcPct val="15000"/>
              </a:spcBef>
              <a:spcAft>
                <a:spcPts val="1200"/>
              </a:spcAft>
              <a:buFont typeface="ABBvoice" panose="020D0603020503020204" pitchFamily="34" charset="0"/>
              <a:buChar char="–"/>
            </a:pPr>
            <a:r>
              <a:rPr lang="en-US" altLang="zh-CN" dirty="0">
                <a:ea typeface="ＭＳ Ｐゴシック" pitchFamily="34" charset="-128"/>
              </a:rPr>
              <a:t>Competitive prices</a:t>
            </a:r>
          </a:p>
          <a:p>
            <a:pPr lvl="1">
              <a:lnSpc>
                <a:spcPct val="85000"/>
              </a:lnSpc>
              <a:spcBef>
                <a:spcPct val="15000"/>
              </a:spcBef>
              <a:spcAft>
                <a:spcPts val="1200"/>
              </a:spcAft>
              <a:buFont typeface="ABBvoice" panose="020D0603020503020204" pitchFamily="34" charset="0"/>
              <a:buChar char="–"/>
            </a:pPr>
            <a:r>
              <a:rPr lang="en-US" altLang="zh-CN" dirty="0">
                <a:ea typeface="ＭＳ Ｐゴシック" pitchFamily="34" charset="-128"/>
              </a:rPr>
              <a:t>Stable</a:t>
            </a:r>
          </a:p>
          <a:p>
            <a:endParaRPr lang="en-US" altLang="zh-CN" dirty="0"/>
          </a:p>
          <a:p>
            <a:endParaRPr lang="en-US" altLang="zh-CN" dirty="0"/>
          </a:p>
          <a:p>
            <a:pPr marL="285750" indent="-285750">
              <a:buFont typeface="ABBvoice" panose="020D0603020503020204" pitchFamily="34" charset="0"/>
              <a:buChar char="–"/>
            </a:pPr>
            <a:endParaRPr lang="en-US" dirty="0"/>
          </a:p>
        </p:txBody>
      </p:sp>
      <p:sp>
        <p:nvSpPr>
          <p:cNvPr id="14" name="Subtitle 13">
            <a:extLst>
              <a:ext uri="{FF2B5EF4-FFF2-40B4-BE49-F238E27FC236}">
                <a16:creationId xmlns:a16="http://schemas.microsoft.com/office/drawing/2014/main" id="{C9294AFE-CB24-461B-9CDB-618C609B8619}"/>
              </a:ext>
            </a:extLst>
          </p:cNvPr>
          <p:cNvSpPr>
            <a:spLocks noGrp="1"/>
          </p:cNvSpPr>
          <p:nvPr>
            <p:ph type="subTitle" idx="13"/>
          </p:nvPr>
        </p:nvSpPr>
        <p:spPr/>
        <p:txBody>
          <a:bodyPr/>
          <a:lstStyle/>
          <a:p>
            <a:r>
              <a:rPr lang="de-DE" altLang="zh-CN" dirty="0"/>
              <a:t>Open channel flow- applications</a:t>
            </a:r>
            <a:endParaRPr lang="en-US" dirty="0"/>
          </a:p>
          <a:p>
            <a:endParaRPr lang="en-US" dirty="0"/>
          </a:p>
        </p:txBody>
      </p:sp>
      <p:pic>
        <p:nvPicPr>
          <p:cNvPr id="11" name="Picture 10">
            <a:extLst>
              <a:ext uri="{FF2B5EF4-FFF2-40B4-BE49-F238E27FC236}">
                <a16:creationId xmlns:a16="http://schemas.microsoft.com/office/drawing/2014/main" id="{258585C8-C3EF-4029-8509-835DBC7FD7E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47117" y="1782309"/>
            <a:ext cx="4179069" cy="1875261"/>
          </a:xfrm>
          <a:prstGeom prst="rect">
            <a:avLst/>
          </a:prstGeom>
        </p:spPr>
      </p:pic>
      <p:pic>
        <p:nvPicPr>
          <p:cNvPr id="12" name="Picture 11">
            <a:extLst>
              <a:ext uri="{FF2B5EF4-FFF2-40B4-BE49-F238E27FC236}">
                <a16:creationId xmlns:a16="http://schemas.microsoft.com/office/drawing/2014/main" id="{1C3A2233-F18D-4E82-8FCF-8263BB7B906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247117" y="3734174"/>
            <a:ext cx="4179069" cy="2177941"/>
          </a:xfrm>
          <a:prstGeom prst="rect">
            <a:avLst/>
          </a:prstGeom>
        </p:spPr>
      </p:pic>
    </p:spTree>
    <p:extLst>
      <p:ext uri="{BB962C8B-B14F-4D97-AF65-F5344CB8AC3E}">
        <p14:creationId xmlns:p14="http://schemas.microsoft.com/office/powerpoint/2010/main" val="1297423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2436E-E2F1-4798-9CD2-17F656327B90}"/>
              </a:ext>
            </a:extLst>
          </p:cNvPr>
          <p:cNvSpPr>
            <a:spLocks noGrp="1"/>
          </p:cNvSpPr>
          <p:nvPr>
            <p:ph type="title"/>
          </p:nvPr>
        </p:nvSpPr>
        <p:spPr/>
        <p:txBody>
          <a:bodyPr/>
          <a:lstStyle/>
          <a:p>
            <a:r>
              <a:rPr lang="en-US" altLang="zh-CN" dirty="0"/>
              <a:t>LST200 applications</a:t>
            </a:r>
            <a:endParaRPr lang="en-US" dirty="0"/>
          </a:p>
        </p:txBody>
      </p:sp>
      <p:sp>
        <p:nvSpPr>
          <p:cNvPr id="3" name="Footer Placeholder 2">
            <a:extLst>
              <a:ext uri="{FF2B5EF4-FFF2-40B4-BE49-F238E27FC236}">
                <a16:creationId xmlns:a16="http://schemas.microsoft.com/office/drawing/2014/main" id="{43B240C9-795E-46FB-9E9A-772EEB000F48}"/>
              </a:ext>
            </a:extLst>
          </p:cNvPr>
          <p:cNvSpPr>
            <a:spLocks noGrp="1"/>
          </p:cNvSpPr>
          <p:nvPr>
            <p:ph type="ftr" sz="quarter" idx="10"/>
          </p:nvPr>
        </p:nvSpPr>
        <p:spPr/>
        <p:txBody>
          <a:bodyPr/>
          <a:lstStyle/>
          <a:p>
            <a:pPr lvl="8"/>
            <a:endParaRPr lang="en-US"/>
          </a:p>
        </p:txBody>
      </p:sp>
      <p:sp>
        <p:nvSpPr>
          <p:cNvPr id="5" name="Slide Number Placeholder 4">
            <a:extLst>
              <a:ext uri="{FF2B5EF4-FFF2-40B4-BE49-F238E27FC236}">
                <a16:creationId xmlns:a16="http://schemas.microsoft.com/office/drawing/2014/main" id="{0D920F75-ABB6-4357-923C-EE2215EB1CBA}"/>
              </a:ext>
            </a:extLst>
          </p:cNvPr>
          <p:cNvSpPr>
            <a:spLocks noGrp="1"/>
          </p:cNvSpPr>
          <p:nvPr>
            <p:ph type="sldNum" sz="quarter" idx="12"/>
          </p:nvPr>
        </p:nvSpPr>
        <p:spPr/>
        <p:txBody>
          <a:bodyPr/>
          <a:lstStyle/>
          <a:p>
            <a:r>
              <a:rPr lang="en-US"/>
              <a:t>Slide </a:t>
            </a:r>
            <a:fld id="{619F89D8-7AE3-494A-97F3-03D680869632}" type="slidenum">
              <a:rPr lang="en-US" smtClean="0"/>
              <a:pPr/>
              <a:t>27</a:t>
            </a:fld>
            <a:endParaRPr lang="en-US"/>
          </a:p>
        </p:txBody>
      </p:sp>
      <p:sp>
        <p:nvSpPr>
          <p:cNvPr id="15" name="Text Placeholder 14">
            <a:extLst>
              <a:ext uri="{FF2B5EF4-FFF2-40B4-BE49-F238E27FC236}">
                <a16:creationId xmlns:a16="http://schemas.microsoft.com/office/drawing/2014/main" id="{D62A2587-D783-49C8-A28C-969AB607CD09}"/>
              </a:ext>
            </a:extLst>
          </p:cNvPr>
          <p:cNvSpPr>
            <a:spLocks noGrp="1"/>
          </p:cNvSpPr>
          <p:nvPr>
            <p:ph type="body" sz="quarter" idx="16"/>
          </p:nvPr>
        </p:nvSpPr>
        <p:spPr/>
        <p:txBody>
          <a:bodyPr/>
          <a:lstStyle/>
          <a:p>
            <a:r>
              <a:rPr lang="en-US" altLang="zh-CN" dirty="0"/>
              <a:t>It is not perfect as the traditional way</a:t>
            </a:r>
          </a:p>
        </p:txBody>
      </p:sp>
      <p:sp>
        <p:nvSpPr>
          <p:cNvPr id="7" name="Content Placeholder 6">
            <a:extLst>
              <a:ext uri="{FF2B5EF4-FFF2-40B4-BE49-F238E27FC236}">
                <a16:creationId xmlns:a16="http://schemas.microsoft.com/office/drawing/2014/main" id="{8A8DB003-CE2D-484B-A35B-82EECC138050}"/>
              </a:ext>
            </a:extLst>
          </p:cNvPr>
          <p:cNvSpPr>
            <a:spLocks noGrp="1"/>
          </p:cNvSpPr>
          <p:nvPr>
            <p:ph sz="quarter" idx="19"/>
          </p:nvPr>
        </p:nvSpPr>
        <p:spPr>
          <a:xfrm>
            <a:off x="333263" y="2317640"/>
            <a:ext cx="4270635" cy="3594475"/>
          </a:xfrm>
        </p:spPr>
        <p:txBody>
          <a:bodyPr/>
          <a:lstStyle/>
          <a:p>
            <a:r>
              <a:rPr lang="en-US" dirty="0"/>
              <a:t>Low efficiency – communications, validations, etc.</a:t>
            </a:r>
          </a:p>
          <a:p>
            <a:r>
              <a:rPr lang="en-US" dirty="0"/>
              <a:t>Need an expert supporting offline</a:t>
            </a:r>
          </a:p>
          <a:p>
            <a:r>
              <a:rPr lang="en-US" dirty="0"/>
              <a:t>Need customer to have good understanding of the key parameters</a:t>
            </a:r>
          </a:p>
          <a:p>
            <a:r>
              <a:rPr lang="en-US" dirty="0"/>
              <a:t>High rate of mistakes when manually inputting the data</a:t>
            </a:r>
          </a:p>
          <a:p>
            <a:r>
              <a:rPr lang="en-US" dirty="0"/>
              <a:t>Dramatic workload when we get more applications</a:t>
            </a:r>
          </a:p>
          <a:p>
            <a:pPr marL="285750" indent="-285750">
              <a:buFont typeface="ABBvoice" panose="020D0603020503020204" pitchFamily="34" charset="0"/>
              <a:buChar char="–"/>
            </a:pPr>
            <a:endParaRPr lang="en-US" dirty="0"/>
          </a:p>
        </p:txBody>
      </p:sp>
      <p:sp>
        <p:nvSpPr>
          <p:cNvPr id="14" name="Subtitle 13">
            <a:extLst>
              <a:ext uri="{FF2B5EF4-FFF2-40B4-BE49-F238E27FC236}">
                <a16:creationId xmlns:a16="http://schemas.microsoft.com/office/drawing/2014/main" id="{C9294AFE-CB24-461B-9CDB-618C609B8619}"/>
              </a:ext>
            </a:extLst>
          </p:cNvPr>
          <p:cNvSpPr>
            <a:spLocks noGrp="1"/>
          </p:cNvSpPr>
          <p:nvPr>
            <p:ph type="subTitle" idx="13"/>
          </p:nvPr>
        </p:nvSpPr>
        <p:spPr/>
        <p:txBody>
          <a:bodyPr/>
          <a:lstStyle/>
          <a:p>
            <a:r>
              <a:rPr lang="de-DE" altLang="zh-CN" dirty="0"/>
              <a:t>Open channel flow- </a:t>
            </a:r>
            <a:r>
              <a:rPr lang="en-US" dirty="0"/>
              <a:t>commissioning</a:t>
            </a:r>
          </a:p>
        </p:txBody>
      </p:sp>
      <p:pic>
        <p:nvPicPr>
          <p:cNvPr id="13" name="Picture 12">
            <a:extLst>
              <a:ext uri="{FF2B5EF4-FFF2-40B4-BE49-F238E27FC236}">
                <a16:creationId xmlns:a16="http://schemas.microsoft.com/office/drawing/2014/main" id="{04EE8FAD-0D8A-4A1D-A62D-0890796BEBC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05647" y="2963610"/>
            <a:ext cx="6085134" cy="1734651"/>
          </a:xfrm>
          <a:prstGeom prst="rect">
            <a:avLst/>
          </a:prstGeom>
        </p:spPr>
      </p:pic>
    </p:spTree>
    <p:extLst>
      <p:ext uri="{BB962C8B-B14F-4D97-AF65-F5344CB8AC3E}">
        <p14:creationId xmlns:p14="http://schemas.microsoft.com/office/powerpoint/2010/main" val="1988135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2436E-E2F1-4798-9CD2-17F656327B90}"/>
              </a:ext>
            </a:extLst>
          </p:cNvPr>
          <p:cNvSpPr>
            <a:spLocks noGrp="1"/>
          </p:cNvSpPr>
          <p:nvPr>
            <p:ph type="title"/>
          </p:nvPr>
        </p:nvSpPr>
        <p:spPr/>
        <p:txBody>
          <a:bodyPr/>
          <a:lstStyle/>
          <a:p>
            <a:r>
              <a:rPr lang="en-US" altLang="zh-CN" dirty="0"/>
              <a:t>LST200 applications</a:t>
            </a:r>
            <a:endParaRPr lang="en-US" dirty="0"/>
          </a:p>
        </p:txBody>
      </p:sp>
      <p:sp>
        <p:nvSpPr>
          <p:cNvPr id="3" name="Footer Placeholder 2">
            <a:extLst>
              <a:ext uri="{FF2B5EF4-FFF2-40B4-BE49-F238E27FC236}">
                <a16:creationId xmlns:a16="http://schemas.microsoft.com/office/drawing/2014/main" id="{43B240C9-795E-46FB-9E9A-772EEB000F48}"/>
              </a:ext>
            </a:extLst>
          </p:cNvPr>
          <p:cNvSpPr>
            <a:spLocks noGrp="1"/>
          </p:cNvSpPr>
          <p:nvPr>
            <p:ph type="ftr" sz="quarter" idx="10"/>
          </p:nvPr>
        </p:nvSpPr>
        <p:spPr/>
        <p:txBody>
          <a:bodyPr/>
          <a:lstStyle/>
          <a:p>
            <a:pPr lvl="8"/>
            <a:endParaRPr lang="en-US"/>
          </a:p>
        </p:txBody>
      </p:sp>
      <p:sp>
        <p:nvSpPr>
          <p:cNvPr id="5" name="Slide Number Placeholder 4">
            <a:extLst>
              <a:ext uri="{FF2B5EF4-FFF2-40B4-BE49-F238E27FC236}">
                <a16:creationId xmlns:a16="http://schemas.microsoft.com/office/drawing/2014/main" id="{0D920F75-ABB6-4357-923C-EE2215EB1CBA}"/>
              </a:ext>
            </a:extLst>
          </p:cNvPr>
          <p:cNvSpPr>
            <a:spLocks noGrp="1"/>
          </p:cNvSpPr>
          <p:nvPr>
            <p:ph type="sldNum" sz="quarter" idx="12"/>
          </p:nvPr>
        </p:nvSpPr>
        <p:spPr/>
        <p:txBody>
          <a:bodyPr/>
          <a:lstStyle/>
          <a:p>
            <a:r>
              <a:rPr lang="en-US"/>
              <a:t>Slide </a:t>
            </a:r>
            <a:fld id="{619F89D8-7AE3-494A-97F3-03D680869632}" type="slidenum">
              <a:rPr lang="en-US" smtClean="0"/>
              <a:pPr/>
              <a:t>28</a:t>
            </a:fld>
            <a:endParaRPr lang="en-US"/>
          </a:p>
        </p:txBody>
      </p:sp>
      <p:sp>
        <p:nvSpPr>
          <p:cNvPr id="15" name="Text Placeholder 14">
            <a:extLst>
              <a:ext uri="{FF2B5EF4-FFF2-40B4-BE49-F238E27FC236}">
                <a16:creationId xmlns:a16="http://schemas.microsoft.com/office/drawing/2014/main" id="{D62A2587-D783-49C8-A28C-969AB607CD09}"/>
              </a:ext>
            </a:extLst>
          </p:cNvPr>
          <p:cNvSpPr>
            <a:spLocks noGrp="1"/>
          </p:cNvSpPr>
          <p:nvPr>
            <p:ph type="body" sz="quarter" idx="16"/>
          </p:nvPr>
        </p:nvSpPr>
        <p:spPr>
          <a:xfrm>
            <a:off x="333264" y="1931195"/>
            <a:ext cx="4270634" cy="252000"/>
          </a:xfrm>
        </p:spPr>
        <p:txBody>
          <a:bodyPr/>
          <a:lstStyle/>
          <a:p>
            <a:r>
              <a:rPr lang="en-US" altLang="zh-CN" dirty="0"/>
              <a:t>Different from traditional ways, LST200…</a:t>
            </a:r>
          </a:p>
        </p:txBody>
      </p:sp>
      <p:sp>
        <p:nvSpPr>
          <p:cNvPr id="7" name="Content Placeholder 6">
            <a:extLst>
              <a:ext uri="{FF2B5EF4-FFF2-40B4-BE49-F238E27FC236}">
                <a16:creationId xmlns:a16="http://schemas.microsoft.com/office/drawing/2014/main" id="{8A8DB003-CE2D-484B-A35B-82EECC138050}"/>
              </a:ext>
            </a:extLst>
          </p:cNvPr>
          <p:cNvSpPr>
            <a:spLocks noGrp="1"/>
          </p:cNvSpPr>
          <p:nvPr>
            <p:ph sz="quarter" idx="19"/>
          </p:nvPr>
        </p:nvSpPr>
        <p:spPr>
          <a:xfrm>
            <a:off x="333263" y="2317640"/>
            <a:ext cx="4270635" cy="3594475"/>
          </a:xfrm>
        </p:spPr>
        <p:txBody>
          <a:bodyPr/>
          <a:lstStyle/>
          <a:p>
            <a:r>
              <a:rPr lang="en-US" dirty="0"/>
              <a:t>Provide a friendly interface through ABB </a:t>
            </a:r>
            <a:r>
              <a:rPr lang="en-US" dirty="0" err="1"/>
              <a:t>FIM</a:t>
            </a:r>
            <a:r>
              <a:rPr lang="en-US" dirty="0"/>
              <a:t> tool</a:t>
            </a:r>
          </a:p>
          <a:p>
            <a:r>
              <a:rPr lang="en-US" dirty="0"/>
              <a:t>Automatic calculation of 32 points linearization table  based on the flume type:</a:t>
            </a:r>
          </a:p>
          <a:p>
            <a:pPr marL="285750" indent="-285750">
              <a:buFont typeface="ABBvoice" panose="020D0603020503020204" pitchFamily="34" charset="0"/>
              <a:buChar char="–"/>
            </a:pPr>
            <a:r>
              <a:rPr lang="en-US" dirty="0"/>
              <a:t>Rectangular thin plate weir</a:t>
            </a:r>
          </a:p>
          <a:p>
            <a:pPr marL="285750" indent="-285750">
              <a:buFont typeface="ABBvoice" panose="020D0603020503020204" pitchFamily="34" charset="0"/>
              <a:buChar char="–"/>
            </a:pPr>
            <a:r>
              <a:rPr lang="en-US" dirty="0"/>
              <a:t>Triangular notch thin plate weir</a:t>
            </a:r>
          </a:p>
          <a:p>
            <a:pPr marL="285750" indent="-285750">
              <a:buFont typeface="ABBvoice" panose="020D0603020503020204" pitchFamily="34" charset="0"/>
              <a:buChar char="–"/>
            </a:pPr>
            <a:r>
              <a:rPr lang="en-US" dirty="0"/>
              <a:t>Rectangular throated flume</a:t>
            </a:r>
          </a:p>
          <a:p>
            <a:pPr marL="285750" indent="-285750">
              <a:buFont typeface="ABBvoice" panose="020D0603020503020204" pitchFamily="34" charset="0"/>
              <a:buChar char="–"/>
            </a:pPr>
            <a:r>
              <a:rPr lang="en-US" dirty="0"/>
              <a:t>Trapezoidal throated flume</a:t>
            </a:r>
          </a:p>
          <a:p>
            <a:pPr marL="285750" indent="-285750">
              <a:buFont typeface="ABBvoice" panose="020D0603020503020204" pitchFamily="34" charset="0"/>
              <a:buChar char="–"/>
            </a:pPr>
            <a:r>
              <a:rPr lang="en-US" dirty="0"/>
              <a:t>U throated flume</a:t>
            </a:r>
          </a:p>
          <a:p>
            <a:pPr marL="285750" indent="-285750">
              <a:buFont typeface="ABBvoice" panose="020D0603020503020204" pitchFamily="34" charset="0"/>
              <a:buChar char="–"/>
            </a:pPr>
            <a:r>
              <a:rPr lang="en-US" dirty="0"/>
              <a:t>Round nose horizontal broad crested weir</a:t>
            </a:r>
          </a:p>
          <a:p>
            <a:pPr marL="285750" indent="-285750">
              <a:buFont typeface="ABBvoice" panose="020D0603020503020204" pitchFamily="34" charset="0"/>
              <a:buChar char="–"/>
            </a:pPr>
            <a:r>
              <a:rPr lang="en-US" dirty="0"/>
              <a:t>Parshall flumes</a:t>
            </a:r>
          </a:p>
          <a:p>
            <a:pPr marL="285750" indent="-285750">
              <a:buFont typeface="ABBvoice" panose="020D0603020503020204" pitchFamily="34" charset="0"/>
              <a:buChar char="–"/>
            </a:pPr>
            <a:r>
              <a:rPr lang="en-US" dirty="0"/>
              <a:t>Palmer </a:t>
            </a:r>
            <a:r>
              <a:rPr lang="en-US" dirty="0" err="1"/>
              <a:t>bowlus</a:t>
            </a:r>
            <a:r>
              <a:rPr lang="en-US" dirty="0"/>
              <a:t> flume</a:t>
            </a:r>
          </a:p>
          <a:p>
            <a:pPr marL="285750" indent="-285750">
              <a:buFont typeface="ABBvoice" panose="020D0603020503020204" pitchFamily="34" charset="0"/>
              <a:buChar char="–"/>
            </a:pPr>
            <a:r>
              <a:rPr lang="en-US" dirty="0"/>
              <a:t>Cut throat flume</a:t>
            </a:r>
          </a:p>
          <a:p>
            <a:endParaRPr lang="en-US" dirty="0"/>
          </a:p>
          <a:p>
            <a:endParaRPr lang="en-US" dirty="0"/>
          </a:p>
        </p:txBody>
      </p:sp>
      <p:sp>
        <p:nvSpPr>
          <p:cNvPr id="14" name="Subtitle 13">
            <a:extLst>
              <a:ext uri="{FF2B5EF4-FFF2-40B4-BE49-F238E27FC236}">
                <a16:creationId xmlns:a16="http://schemas.microsoft.com/office/drawing/2014/main" id="{C9294AFE-CB24-461B-9CDB-618C609B8619}"/>
              </a:ext>
            </a:extLst>
          </p:cNvPr>
          <p:cNvSpPr>
            <a:spLocks noGrp="1"/>
          </p:cNvSpPr>
          <p:nvPr>
            <p:ph type="subTitle" idx="13"/>
          </p:nvPr>
        </p:nvSpPr>
        <p:spPr/>
        <p:txBody>
          <a:bodyPr/>
          <a:lstStyle/>
          <a:p>
            <a:r>
              <a:rPr lang="en-US" altLang="zh-CN" dirty="0"/>
              <a:t>LST200’s advanced </a:t>
            </a:r>
            <a:r>
              <a:rPr lang="de-DE" altLang="zh-CN" dirty="0"/>
              <a:t>Open channel flow measurement </a:t>
            </a:r>
            <a:r>
              <a:rPr lang="en-US" altLang="zh-CN" dirty="0"/>
              <a:t>solution – no expert needed</a:t>
            </a:r>
          </a:p>
          <a:p>
            <a:endParaRPr lang="en-US" dirty="0"/>
          </a:p>
        </p:txBody>
      </p:sp>
      <p:sp>
        <p:nvSpPr>
          <p:cNvPr id="12" name="Right Arrow 11">
            <a:extLst>
              <a:ext uri="{FF2B5EF4-FFF2-40B4-BE49-F238E27FC236}">
                <a16:creationId xmlns:a16="http://schemas.microsoft.com/office/drawing/2014/main" id="{2D5D84CE-6D4F-4F01-B2A8-F3952F29F759}"/>
              </a:ext>
            </a:extLst>
          </p:cNvPr>
          <p:cNvSpPr/>
          <p:nvPr/>
        </p:nvSpPr>
        <p:spPr>
          <a:xfrm>
            <a:off x="7999698" y="4913183"/>
            <a:ext cx="648072" cy="324036"/>
          </a:xfrm>
          <a:prstGeom prst="rightArrow">
            <a:avLst/>
          </a:prstGeom>
          <a:ln>
            <a:solidFill>
              <a:srgbClr val="272525"/>
            </a:solidFill>
          </a:ln>
        </p:spPr>
        <p:style>
          <a:lnRef idx="2">
            <a:schemeClr val="accent1"/>
          </a:lnRef>
          <a:fillRef idx="1">
            <a:schemeClr val="lt1"/>
          </a:fillRef>
          <a:effectRef idx="0">
            <a:schemeClr val="accent1"/>
          </a:effectRef>
          <a:fontRef idx="minor">
            <a:schemeClr val="dk1"/>
          </a:fontRef>
        </p:style>
        <p:txBody>
          <a:bodyPr rtlCol="0" anchor="ctr"/>
          <a:lstStyle/>
          <a:p>
            <a:pPr marL="179388" indent="-179388" algn="ctr">
              <a:spcBef>
                <a:spcPts val="1100"/>
              </a:spcBef>
              <a:buClr>
                <a:schemeClr val="tx2"/>
              </a:buClr>
              <a:buSzPct val="70000"/>
              <a:buFont typeface="Wingdings" pitchFamily="2" charset="2"/>
              <a:buChar char="§"/>
            </a:pPr>
            <a:endParaRPr lang="en-US" dirty="0">
              <a:solidFill>
                <a:schemeClr val="tx1"/>
              </a:solidFill>
              <a:latin typeface="Arial" pitchFamily="34" charset="0"/>
              <a:cs typeface="Arial" pitchFamily="34" charset="0"/>
            </a:endParaRPr>
          </a:p>
        </p:txBody>
      </p:sp>
      <p:sp>
        <p:nvSpPr>
          <p:cNvPr id="16" name="Rectangle 15">
            <a:extLst>
              <a:ext uri="{FF2B5EF4-FFF2-40B4-BE49-F238E27FC236}">
                <a16:creationId xmlns:a16="http://schemas.microsoft.com/office/drawing/2014/main" id="{7A59D803-A2D1-42AE-A2C5-D7D6A9CD00ED}"/>
              </a:ext>
            </a:extLst>
          </p:cNvPr>
          <p:cNvSpPr/>
          <p:nvPr/>
        </p:nvSpPr>
        <p:spPr>
          <a:xfrm>
            <a:off x="5451243" y="4644182"/>
            <a:ext cx="2482977" cy="1060233"/>
          </a:xfrm>
          <a:prstGeom prst="rect">
            <a:avLst/>
          </a:prstGeom>
          <a:ln>
            <a:solidFill>
              <a:srgbClr val="272525"/>
            </a:solidFill>
          </a:ln>
        </p:spPr>
        <p:style>
          <a:lnRef idx="2">
            <a:schemeClr val="accent2"/>
          </a:lnRef>
          <a:fillRef idx="1">
            <a:schemeClr val="lt1"/>
          </a:fillRef>
          <a:effectRef idx="0">
            <a:schemeClr val="accent2"/>
          </a:effectRef>
          <a:fontRef idx="minor">
            <a:schemeClr val="dk1"/>
          </a:fontRef>
        </p:style>
        <p:txBody>
          <a:bodyPr rtlCol="0" anchor="ctr"/>
          <a:lstStyle/>
          <a:p>
            <a:pPr algn="ctr">
              <a:buClr>
                <a:schemeClr val="tx2"/>
              </a:buClr>
              <a:buSzPct val="70000"/>
            </a:pPr>
            <a:r>
              <a:rPr lang="en-US" sz="1600" dirty="0">
                <a:solidFill>
                  <a:schemeClr val="tx1"/>
                </a:solidFill>
                <a:latin typeface="Arial" pitchFamily="34" charset="0"/>
                <a:cs typeface="Arial" pitchFamily="34" charset="0"/>
              </a:rPr>
              <a:t>Configure the parameters through </a:t>
            </a:r>
            <a:r>
              <a:rPr lang="en-US" sz="1600" dirty="0" err="1">
                <a:solidFill>
                  <a:schemeClr val="tx1"/>
                </a:solidFill>
                <a:latin typeface="Arial" pitchFamily="34" charset="0"/>
                <a:cs typeface="Arial" pitchFamily="34" charset="0"/>
              </a:rPr>
              <a:t>FIM</a:t>
            </a:r>
            <a:r>
              <a:rPr lang="en-US" sz="1600" dirty="0">
                <a:solidFill>
                  <a:schemeClr val="tx1"/>
                </a:solidFill>
                <a:latin typeface="Arial" pitchFamily="34" charset="0"/>
                <a:cs typeface="Arial" pitchFamily="34" charset="0"/>
              </a:rPr>
              <a:t> tool with LST200 </a:t>
            </a:r>
            <a:r>
              <a:rPr lang="en-US" sz="1600" dirty="0" err="1">
                <a:solidFill>
                  <a:schemeClr val="tx1"/>
                </a:solidFill>
                <a:latin typeface="Arial" pitchFamily="34" charset="0"/>
                <a:cs typeface="Arial" pitchFamily="34" charset="0"/>
              </a:rPr>
              <a:t>FDI</a:t>
            </a:r>
            <a:r>
              <a:rPr lang="en-US" sz="1600" dirty="0">
                <a:solidFill>
                  <a:schemeClr val="tx1"/>
                </a:solidFill>
                <a:latin typeface="Arial" pitchFamily="34" charset="0"/>
                <a:cs typeface="Arial" pitchFamily="34" charset="0"/>
              </a:rPr>
              <a:t> package </a:t>
            </a:r>
          </a:p>
        </p:txBody>
      </p:sp>
      <p:sp>
        <p:nvSpPr>
          <p:cNvPr id="17" name="Rectangle 16">
            <a:extLst>
              <a:ext uri="{FF2B5EF4-FFF2-40B4-BE49-F238E27FC236}">
                <a16:creationId xmlns:a16="http://schemas.microsoft.com/office/drawing/2014/main" id="{634EA90F-F334-4091-9F5A-9462C398BD1C}"/>
              </a:ext>
            </a:extLst>
          </p:cNvPr>
          <p:cNvSpPr/>
          <p:nvPr/>
        </p:nvSpPr>
        <p:spPr>
          <a:xfrm>
            <a:off x="8713249" y="4644181"/>
            <a:ext cx="2628292" cy="1060233"/>
          </a:xfrm>
          <a:prstGeom prst="rect">
            <a:avLst/>
          </a:prstGeom>
          <a:ln>
            <a:solidFill>
              <a:srgbClr val="272525"/>
            </a:solidFill>
          </a:ln>
        </p:spPr>
        <p:style>
          <a:lnRef idx="2">
            <a:schemeClr val="accent2"/>
          </a:lnRef>
          <a:fillRef idx="1">
            <a:schemeClr val="lt1"/>
          </a:fillRef>
          <a:effectRef idx="0">
            <a:schemeClr val="accent2"/>
          </a:effectRef>
          <a:fontRef idx="minor">
            <a:schemeClr val="dk1"/>
          </a:fontRef>
        </p:style>
        <p:txBody>
          <a:bodyPr rtlCol="0" anchor="ctr"/>
          <a:lstStyle/>
          <a:p>
            <a:pPr algn="ctr">
              <a:buClr>
                <a:schemeClr val="tx2"/>
              </a:buClr>
              <a:buSzPct val="70000"/>
            </a:pPr>
            <a:r>
              <a:rPr lang="en-US" sz="1600" dirty="0">
                <a:solidFill>
                  <a:schemeClr val="tx1"/>
                </a:solidFill>
                <a:latin typeface="Arial" pitchFamily="34" charset="0"/>
                <a:cs typeface="Arial" pitchFamily="34" charset="0"/>
              </a:rPr>
              <a:t>Transfer the settings to LST200 device</a:t>
            </a:r>
          </a:p>
        </p:txBody>
      </p:sp>
      <p:pic>
        <p:nvPicPr>
          <p:cNvPr id="11" name="Picture 10">
            <a:extLst>
              <a:ext uri="{FF2B5EF4-FFF2-40B4-BE49-F238E27FC236}">
                <a16:creationId xmlns:a16="http://schemas.microsoft.com/office/drawing/2014/main" id="{1B4CA2F2-8964-4072-BB4A-D8ED0C4790D2}"/>
              </a:ext>
            </a:extLst>
          </p:cNvPr>
          <p:cNvPicPr>
            <a:picLocks noChangeAspect="1"/>
          </p:cNvPicPr>
          <p:nvPr/>
        </p:nvPicPr>
        <p:blipFill>
          <a:blip r:embed="rId3"/>
          <a:stretch>
            <a:fillRect/>
          </a:stretch>
        </p:blipFill>
        <p:spPr>
          <a:xfrm>
            <a:off x="4925416" y="2353536"/>
            <a:ext cx="6064616" cy="1815641"/>
          </a:xfrm>
          <a:prstGeom prst="rect">
            <a:avLst/>
          </a:prstGeom>
        </p:spPr>
      </p:pic>
    </p:spTree>
    <p:extLst>
      <p:ext uri="{BB962C8B-B14F-4D97-AF65-F5344CB8AC3E}">
        <p14:creationId xmlns:p14="http://schemas.microsoft.com/office/powerpoint/2010/main" val="162964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333264" y="682313"/>
            <a:ext cx="11520000" cy="396000"/>
          </a:xfrm>
        </p:spPr>
        <p:txBody>
          <a:bodyPr anchor="t">
            <a:normAutofit/>
          </a:bodyPr>
          <a:lstStyle/>
          <a:p>
            <a:r>
              <a:rPr lang="en-US" altLang="zh-CN" dirty="0"/>
              <a:t>LST200 applications</a:t>
            </a:r>
            <a:endParaRPr lang="en-US" dirty="0"/>
          </a:p>
        </p:txBody>
      </p:sp>
      <p:sp>
        <p:nvSpPr>
          <p:cNvPr id="24" name="Footer Placeholder 2">
            <a:extLst>
              <a:ext uri="{FF2B5EF4-FFF2-40B4-BE49-F238E27FC236}">
                <a16:creationId xmlns:a16="http://schemas.microsoft.com/office/drawing/2014/main" id="{FD53A6C3-1940-4239-87E5-8A7448A0AC3C}"/>
              </a:ext>
            </a:extLst>
          </p:cNvPr>
          <p:cNvSpPr>
            <a:spLocks noGrp="1"/>
          </p:cNvSpPr>
          <p:nvPr>
            <p:ph type="ftr" sz="quarter" idx="10"/>
          </p:nvPr>
        </p:nvSpPr>
        <p:spPr>
          <a:xfrm>
            <a:off x="2499782" y="6298397"/>
            <a:ext cx="8490250" cy="500072"/>
          </a:xfrm>
        </p:spPr>
        <p:txBody>
          <a:bodyPr/>
          <a:lstStyle/>
          <a:p>
            <a:pPr lvl="8"/>
            <a:endParaRPr lang="en-US" dirty="0"/>
          </a:p>
        </p:txBody>
      </p:sp>
      <p:sp>
        <p:nvSpPr>
          <p:cNvPr id="7" name="Slide Number Placeholder 5">
            <a:extLst>
              <a:ext uri="{FF2B5EF4-FFF2-40B4-BE49-F238E27FC236}">
                <a16:creationId xmlns:a16="http://schemas.microsoft.com/office/drawing/2014/main" id="{555CFC71-C458-451B-BF1D-44ADFB679CB7}"/>
              </a:ext>
            </a:extLst>
          </p:cNvPr>
          <p:cNvSpPr>
            <a:spLocks noGrp="1"/>
          </p:cNvSpPr>
          <p:nvPr>
            <p:ph type="sldNum" sz="quarter" idx="12"/>
          </p:nvPr>
        </p:nvSpPr>
        <p:spPr>
          <a:xfrm>
            <a:off x="1798114" y="6488733"/>
            <a:ext cx="676888" cy="118800"/>
          </a:xfrm>
        </p:spPr>
        <p:txBody>
          <a:bodyPr vert="horz" lIns="0" tIns="0" rIns="0" bIns="0" rtlCol="0" anchor="ctr">
            <a:normAutofit/>
          </a:bodyPr>
          <a:lstStyle/>
          <a:p>
            <a:pPr>
              <a:lnSpc>
                <a:spcPct val="90000"/>
              </a:lnSpc>
              <a:spcAft>
                <a:spcPts val="600"/>
              </a:spcAft>
            </a:pPr>
            <a:r>
              <a:rPr lang="en-US" sz="800"/>
              <a:t>Slide </a:t>
            </a:r>
            <a:fld id="{619F89D8-7AE3-494A-97F3-03D680869632}" type="slidenum">
              <a:rPr lang="en-US" sz="800" smtClean="0"/>
              <a:pPr>
                <a:lnSpc>
                  <a:spcPct val="90000"/>
                </a:lnSpc>
                <a:spcAft>
                  <a:spcPts val="600"/>
                </a:spcAft>
              </a:pPr>
              <a:t>29</a:t>
            </a:fld>
            <a:endParaRPr lang="en-US" sz="800"/>
          </a:p>
        </p:txBody>
      </p:sp>
      <p:sp>
        <p:nvSpPr>
          <p:cNvPr id="10" name="Date Placeholder 2">
            <a:extLst>
              <a:ext uri="{FF2B5EF4-FFF2-40B4-BE49-F238E27FC236}">
                <a16:creationId xmlns:a16="http://schemas.microsoft.com/office/drawing/2014/main" id="{6A9C19F2-AD92-4B89-BBCC-54B69BA625B6}"/>
              </a:ext>
            </a:extLst>
          </p:cNvPr>
          <p:cNvSpPr txBox="1">
            <a:spLocks/>
          </p:cNvSpPr>
          <p:nvPr/>
        </p:nvSpPr>
        <p:spPr bwMode="gray">
          <a:xfrm>
            <a:off x="170728" y="1783339"/>
            <a:ext cx="2538160" cy="593981"/>
          </a:xfrm>
          <a:prstGeom prst="rect">
            <a:avLst/>
          </a:prstGeom>
        </p:spPr>
        <p:txBody>
          <a:bodyPr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b="1" dirty="0">
                <a:solidFill>
                  <a:schemeClr val="tx2"/>
                </a:solidFill>
              </a:rPr>
              <a:t>What you need to do…</a:t>
            </a:r>
          </a:p>
        </p:txBody>
      </p:sp>
      <p:sp>
        <p:nvSpPr>
          <p:cNvPr id="19" name="Text Placeholder 6">
            <a:extLst>
              <a:ext uri="{FF2B5EF4-FFF2-40B4-BE49-F238E27FC236}">
                <a16:creationId xmlns:a16="http://schemas.microsoft.com/office/drawing/2014/main" id="{DFD2E553-092D-4969-94FC-51284B927209}"/>
              </a:ext>
            </a:extLst>
          </p:cNvPr>
          <p:cNvSpPr>
            <a:spLocks noGrp="1"/>
          </p:cNvSpPr>
          <p:nvPr>
            <p:ph sz="quarter" idx="19"/>
          </p:nvPr>
        </p:nvSpPr>
        <p:spPr>
          <a:xfrm>
            <a:off x="170728" y="2317640"/>
            <a:ext cx="2445150" cy="3594475"/>
          </a:xfrm>
        </p:spPr>
        <p:txBody>
          <a:bodyPr>
            <a:normAutofit/>
          </a:bodyPr>
          <a:lstStyle/>
          <a:p>
            <a:endParaRPr lang="en-US" dirty="0"/>
          </a:p>
          <a:p>
            <a:pPr marL="285750" indent="-285750">
              <a:buFont typeface="ABBvoice" panose="020D0603020503020204" pitchFamily="34" charset="0"/>
              <a:buChar char="–"/>
            </a:pPr>
            <a:r>
              <a:rPr lang="en-US" dirty="0"/>
              <a:t>Choose the channel type</a:t>
            </a:r>
          </a:p>
          <a:p>
            <a:pPr marL="285750" indent="-285750">
              <a:buFont typeface="ABBvoice" panose="020D0603020503020204" pitchFamily="34" charset="0"/>
              <a:buChar char="–"/>
            </a:pPr>
            <a:r>
              <a:rPr lang="en-US" dirty="0"/>
              <a:t>Input the suggested dimension related parameters </a:t>
            </a:r>
          </a:p>
          <a:p>
            <a:pPr marL="285750" indent="-285750">
              <a:buFont typeface="ABBvoice" panose="020D0603020503020204" pitchFamily="34" charset="0"/>
              <a:buChar char="–"/>
            </a:pPr>
            <a:r>
              <a:rPr lang="en-US" dirty="0"/>
              <a:t>Generate the linearization table </a:t>
            </a:r>
          </a:p>
          <a:p>
            <a:pPr marL="285750" indent="-285750">
              <a:buFont typeface="ABBvoice" panose="020D0603020503020204" pitchFamily="34" charset="0"/>
              <a:buChar char="–"/>
            </a:pPr>
            <a:r>
              <a:rPr lang="en-US" dirty="0"/>
              <a:t>Send to  LST200 </a:t>
            </a:r>
          </a:p>
          <a:p>
            <a:endParaRPr lang="en-US" dirty="0"/>
          </a:p>
          <a:p>
            <a:endParaRPr lang="en-US" dirty="0"/>
          </a:p>
          <a:p>
            <a:endParaRPr lang="en-US" dirty="0"/>
          </a:p>
        </p:txBody>
      </p:sp>
      <p:sp>
        <p:nvSpPr>
          <p:cNvPr id="2" name="Subtitle 1">
            <a:extLst>
              <a:ext uri="{FF2B5EF4-FFF2-40B4-BE49-F238E27FC236}">
                <a16:creationId xmlns:a16="http://schemas.microsoft.com/office/drawing/2014/main" id="{70BB7245-5662-4033-BBC7-378B7E05963A}"/>
              </a:ext>
            </a:extLst>
          </p:cNvPr>
          <p:cNvSpPr>
            <a:spLocks noGrp="1"/>
          </p:cNvSpPr>
          <p:nvPr>
            <p:ph type="subTitle" idx="13"/>
          </p:nvPr>
        </p:nvSpPr>
        <p:spPr>
          <a:xfrm>
            <a:off x="332362" y="1085213"/>
            <a:ext cx="11520000" cy="504000"/>
          </a:xfrm>
        </p:spPr>
        <p:txBody>
          <a:bodyPr>
            <a:normAutofit/>
          </a:bodyPr>
          <a:lstStyle/>
          <a:p>
            <a:r>
              <a:rPr lang="en-US" altLang="zh-CN" dirty="0"/>
              <a:t>LST200’s advanced </a:t>
            </a:r>
            <a:r>
              <a:rPr lang="de-DE" altLang="zh-CN" dirty="0"/>
              <a:t>open channel flow measurement </a:t>
            </a:r>
            <a:r>
              <a:rPr lang="en-US" altLang="zh-CN" dirty="0"/>
              <a:t>solution – measurement made easy</a:t>
            </a:r>
            <a:endParaRPr lang="de-DE" dirty="0"/>
          </a:p>
        </p:txBody>
      </p:sp>
      <p:sp>
        <p:nvSpPr>
          <p:cNvPr id="11" name="TextBox 10">
            <a:extLst>
              <a:ext uri="{FF2B5EF4-FFF2-40B4-BE49-F238E27FC236}">
                <a16:creationId xmlns:a16="http://schemas.microsoft.com/office/drawing/2014/main" id="{D6EFE4F4-1870-4B4E-BB3B-C6D4A759BD12}"/>
              </a:ext>
            </a:extLst>
          </p:cNvPr>
          <p:cNvSpPr txBox="1"/>
          <p:nvPr/>
        </p:nvSpPr>
        <p:spPr bwMode="gray">
          <a:xfrm>
            <a:off x="2179674" y="5092995"/>
            <a:ext cx="2115879" cy="318977"/>
          </a:xfrm>
          <a:prstGeom prst="rect">
            <a:avLst/>
          </a:prstGeom>
          <a:noFill/>
        </p:spPr>
        <p:txBody>
          <a:bodyPr wrap="square" lIns="72000" tIns="72000" rIns="72000" bIns="72000" rtlCol="0">
            <a:noAutofit/>
          </a:bodyPr>
          <a:lstStyle/>
          <a:p>
            <a:endParaRPr lang="zh-CN" altLang="en-US" sz="1400" dirty="0" err="1"/>
          </a:p>
        </p:txBody>
      </p:sp>
      <p:pic>
        <p:nvPicPr>
          <p:cNvPr id="9" name="Content Placeholder 8">
            <a:extLst>
              <a:ext uri="{FF2B5EF4-FFF2-40B4-BE49-F238E27FC236}">
                <a16:creationId xmlns:a16="http://schemas.microsoft.com/office/drawing/2014/main" id="{1DE04729-1711-4F23-A1AE-DB7DF9E8F65F}"/>
              </a:ext>
            </a:extLst>
          </p:cNvPr>
          <p:cNvPicPr>
            <a:picLocks noGrp="1" noChangeAspect="1"/>
          </p:cNvPicPr>
          <p:nvPr>
            <p:ph sz="quarter" idx="20"/>
          </p:nvPr>
        </p:nvPicPr>
        <p:blipFill>
          <a:blip r:embed="rId3"/>
          <a:stretch>
            <a:fillRect/>
          </a:stretch>
        </p:blipFill>
        <p:spPr>
          <a:xfrm>
            <a:off x="3020992" y="2036558"/>
            <a:ext cx="8832871" cy="3770722"/>
          </a:xfrm>
          <a:prstGeom prst="rect">
            <a:avLst/>
          </a:prstGeom>
        </p:spPr>
      </p:pic>
    </p:spTree>
    <p:extLst>
      <p:ext uri="{BB962C8B-B14F-4D97-AF65-F5344CB8AC3E}">
        <p14:creationId xmlns:p14="http://schemas.microsoft.com/office/powerpoint/2010/main" val="269343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C3AC9747-10C2-4437-BD80-620F1E3A5B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7" name="think-cell Slide" r:id="rId6" imgW="415" imgH="416" progId="TCLayout.ActiveDocument.1">
                  <p:embed/>
                </p:oleObj>
              </mc:Choice>
              <mc:Fallback>
                <p:oleObj name="think-cell Slide" r:id="rId6" imgW="415" imgH="416" progId="TCLayout.ActiveDocument.1">
                  <p:embed/>
                  <p:pic>
                    <p:nvPicPr>
                      <p:cNvPr id="23" name="Object 22" hidden="1">
                        <a:extLst>
                          <a:ext uri="{FF2B5EF4-FFF2-40B4-BE49-F238E27FC236}">
                            <a16:creationId xmlns:a16="http://schemas.microsoft.com/office/drawing/2014/main" id="{C3AC9747-10C2-4437-BD80-620F1E3A5B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200BC341-08C9-46AB-A4DB-64D7E7A9ABE2}"/>
              </a:ext>
            </a:extLst>
          </p:cNvPr>
          <p:cNvSpPr/>
          <p:nvPr>
            <p:custDataLst>
              <p:tags r:id="rId3"/>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400" b="1" dirty="0" err="1">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sp>
        <p:nvSpPr>
          <p:cNvPr id="3" name="Title 2">
            <a:extLst>
              <a:ext uri="{FF2B5EF4-FFF2-40B4-BE49-F238E27FC236}">
                <a16:creationId xmlns:a16="http://schemas.microsoft.com/office/drawing/2014/main" id="{1F8971A7-DCFD-41F6-B5F0-C2C3FC8E1539}"/>
              </a:ext>
            </a:extLst>
          </p:cNvPr>
          <p:cNvSpPr>
            <a:spLocks noGrp="1"/>
          </p:cNvSpPr>
          <p:nvPr>
            <p:ph type="title"/>
          </p:nvPr>
        </p:nvSpPr>
        <p:spPr/>
        <p:txBody>
          <a:bodyPr/>
          <a:lstStyle/>
          <a:p>
            <a:r>
              <a:rPr lang="en-US" dirty="0"/>
              <a:t>Overview</a:t>
            </a:r>
          </a:p>
        </p:txBody>
      </p:sp>
      <p:sp>
        <p:nvSpPr>
          <p:cNvPr id="4" name="Date Placeholder 3">
            <a:extLst>
              <a:ext uri="{FF2B5EF4-FFF2-40B4-BE49-F238E27FC236}">
                <a16:creationId xmlns:a16="http://schemas.microsoft.com/office/drawing/2014/main" id="{BB2AEEB6-6769-4D8D-82A8-72DA10EA7373}"/>
              </a:ext>
            </a:extLst>
          </p:cNvPr>
          <p:cNvSpPr>
            <a:spLocks noGrp="1"/>
          </p:cNvSpPr>
          <p:nvPr>
            <p:ph type="dt" sz="half" idx="14"/>
          </p:nvPr>
        </p:nvSpPr>
        <p:spPr/>
        <p:txBody>
          <a:bodyPr/>
          <a:lstStyle/>
          <a:p>
            <a:fld id="{FFAB2352-921F-4DD8-A99A-A1474F6943FF}" type="datetime4">
              <a:rPr lang="en-US" smtClean="0"/>
              <a:t>June 17, 2021</a:t>
            </a:fld>
            <a:endParaRPr lang="en-US" dirty="0"/>
          </a:p>
        </p:txBody>
      </p:sp>
      <p:sp>
        <p:nvSpPr>
          <p:cNvPr id="5" name="Footer Placeholder 4">
            <a:extLst>
              <a:ext uri="{FF2B5EF4-FFF2-40B4-BE49-F238E27FC236}">
                <a16:creationId xmlns:a16="http://schemas.microsoft.com/office/drawing/2014/main" id="{0D669540-20E3-4957-89B0-D6844428E56E}"/>
              </a:ext>
            </a:extLst>
          </p:cNvPr>
          <p:cNvSpPr>
            <a:spLocks noGrp="1"/>
          </p:cNvSpPr>
          <p:nvPr>
            <p:ph type="ftr" sz="quarter" idx="15"/>
          </p:nvPr>
        </p:nvSpPr>
        <p:spPr/>
        <p:txBody>
          <a:bodyPr/>
          <a:lstStyle/>
          <a:p>
            <a:pPr lvl="8"/>
            <a:endParaRPr lang="en-US" dirty="0"/>
          </a:p>
        </p:txBody>
      </p:sp>
      <p:sp>
        <p:nvSpPr>
          <p:cNvPr id="6" name="Slide Number Placeholder 5">
            <a:extLst>
              <a:ext uri="{FF2B5EF4-FFF2-40B4-BE49-F238E27FC236}">
                <a16:creationId xmlns:a16="http://schemas.microsoft.com/office/drawing/2014/main" id="{A911A7DB-6E0F-4BF3-96B3-E8DFD30B772A}"/>
              </a:ext>
            </a:extLst>
          </p:cNvPr>
          <p:cNvSpPr>
            <a:spLocks noGrp="1"/>
          </p:cNvSpPr>
          <p:nvPr>
            <p:ph type="sldNum" sz="quarter" idx="16"/>
          </p:nvPr>
        </p:nvSpPr>
        <p:spPr/>
        <p:txBody>
          <a:bodyPr/>
          <a:lstStyle/>
          <a:p>
            <a:r>
              <a:rPr lang="en-US" dirty="0"/>
              <a:t>Slide </a:t>
            </a:r>
            <a:fld id="{619F89D8-7AE3-494A-97F3-03D680869632}" type="slidenum">
              <a:rPr lang="en-US" smtClean="0"/>
              <a:pPr/>
              <a:t>3</a:t>
            </a:fld>
            <a:endParaRPr lang="en-US" dirty="0"/>
          </a:p>
        </p:txBody>
      </p:sp>
      <p:sp>
        <p:nvSpPr>
          <p:cNvPr id="2" name="Subtitle 1">
            <a:extLst>
              <a:ext uri="{FF2B5EF4-FFF2-40B4-BE49-F238E27FC236}">
                <a16:creationId xmlns:a16="http://schemas.microsoft.com/office/drawing/2014/main" id="{47C381B8-79B7-495B-A2B1-9BCB9FEA0974}"/>
              </a:ext>
            </a:extLst>
          </p:cNvPr>
          <p:cNvSpPr>
            <a:spLocks noGrp="1"/>
          </p:cNvSpPr>
          <p:nvPr>
            <p:ph type="subTitle" idx="13"/>
          </p:nvPr>
        </p:nvSpPr>
        <p:spPr/>
        <p:txBody>
          <a:bodyPr/>
          <a:lstStyle/>
          <a:p>
            <a:r>
              <a:rPr lang="de-DE" dirty="0"/>
              <a:t>ABB ultrasonic level transmitter portfolio </a:t>
            </a:r>
          </a:p>
        </p:txBody>
      </p:sp>
      <p:cxnSp>
        <p:nvCxnSpPr>
          <p:cNvPr id="8" name="Straight Connector 7">
            <a:extLst>
              <a:ext uri="{FF2B5EF4-FFF2-40B4-BE49-F238E27FC236}">
                <a16:creationId xmlns:a16="http://schemas.microsoft.com/office/drawing/2014/main" id="{DD98A089-37F6-4B9B-9000-3CD4B23925A6}"/>
              </a:ext>
            </a:extLst>
          </p:cNvPr>
          <p:cNvCxnSpPr>
            <a:cxnSpLocks/>
          </p:cNvCxnSpPr>
          <p:nvPr/>
        </p:nvCxnSpPr>
        <p:spPr bwMode="gray">
          <a:xfrm>
            <a:off x="4124387" y="2251575"/>
            <a:ext cx="0" cy="3665857"/>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a:extLst>
              <a:ext uri="{FF2B5EF4-FFF2-40B4-BE49-F238E27FC236}">
                <a16:creationId xmlns:a16="http://schemas.microsoft.com/office/drawing/2014/main" id="{4E791DE3-75C5-4723-B676-D3F8C7D1C9A2}"/>
              </a:ext>
            </a:extLst>
          </p:cNvPr>
          <p:cNvCxnSpPr>
            <a:cxnSpLocks/>
          </p:cNvCxnSpPr>
          <p:nvPr/>
        </p:nvCxnSpPr>
        <p:spPr bwMode="gray">
          <a:xfrm>
            <a:off x="8112937" y="2251575"/>
            <a:ext cx="0" cy="3665857"/>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TextBox 12">
            <a:extLst>
              <a:ext uri="{FF2B5EF4-FFF2-40B4-BE49-F238E27FC236}">
                <a16:creationId xmlns:a16="http://schemas.microsoft.com/office/drawing/2014/main" id="{6C1BC97B-B335-40FE-ADC8-9BD6FF6C1A15}"/>
              </a:ext>
            </a:extLst>
          </p:cNvPr>
          <p:cNvSpPr txBox="1">
            <a:spLocks/>
          </p:cNvSpPr>
          <p:nvPr/>
        </p:nvSpPr>
        <p:spPr bwMode="gray">
          <a:xfrm>
            <a:off x="359626" y="2421703"/>
            <a:ext cx="3553863" cy="276999"/>
          </a:xfrm>
          <a:prstGeom prst="rect">
            <a:avLst/>
          </a:prstGeom>
          <a:noFill/>
          <a:ln w="12700">
            <a:noFill/>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D90000"/>
                </a:solidFill>
                <a:effectLst/>
                <a:uLnTx/>
                <a:uFillTx/>
                <a:latin typeface="ABBvoice"/>
                <a:ea typeface="ABBvoiceOffice" panose="020D0603020503020204" pitchFamily="34" charset="0"/>
                <a:cs typeface="ABBvoiceOffice" panose="020D0603020503020204" pitchFamily="34" charset="0"/>
              </a:rPr>
              <a:t>LST200</a:t>
            </a:r>
          </a:p>
        </p:txBody>
      </p:sp>
      <p:sp>
        <p:nvSpPr>
          <p:cNvPr id="12" name="TextBox 12">
            <a:extLst>
              <a:ext uri="{FF2B5EF4-FFF2-40B4-BE49-F238E27FC236}">
                <a16:creationId xmlns:a16="http://schemas.microsoft.com/office/drawing/2014/main" id="{C7C727A5-40DC-4EEA-81F8-1140FB2D967F}"/>
              </a:ext>
            </a:extLst>
          </p:cNvPr>
          <p:cNvSpPr txBox="1">
            <a:spLocks/>
          </p:cNvSpPr>
          <p:nvPr/>
        </p:nvSpPr>
        <p:spPr bwMode="gray">
          <a:xfrm>
            <a:off x="4717576" y="2421703"/>
            <a:ext cx="2869687" cy="276999"/>
          </a:xfrm>
          <a:prstGeom prst="rect">
            <a:avLst/>
          </a:prstGeom>
          <a:noFill/>
          <a:ln w="12700">
            <a:noFill/>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D90000"/>
                </a:solidFill>
                <a:effectLst/>
                <a:uLnTx/>
                <a:uFillTx/>
                <a:latin typeface="ABBvoice"/>
                <a:ea typeface="ABBvoiceOffice" panose="020D0603020503020204" pitchFamily="34" charset="0"/>
                <a:cs typeface="ABBvoiceOffice" panose="020D0603020503020204" pitchFamily="34" charset="0"/>
              </a:rPr>
              <a:t>LST300</a:t>
            </a:r>
          </a:p>
        </p:txBody>
      </p:sp>
      <p:sp>
        <p:nvSpPr>
          <p:cNvPr id="13" name="TextBox 12">
            <a:extLst>
              <a:ext uri="{FF2B5EF4-FFF2-40B4-BE49-F238E27FC236}">
                <a16:creationId xmlns:a16="http://schemas.microsoft.com/office/drawing/2014/main" id="{ED9DA0F9-040E-474E-9570-AA8EC78C6FE4}"/>
              </a:ext>
            </a:extLst>
          </p:cNvPr>
          <p:cNvSpPr txBox="1">
            <a:spLocks/>
          </p:cNvSpPr>
          <p:nvPr/>
        </p:nvSpPr>
        <p:spPr bwMode="gray">
          <a:xfrm>
            <a:off x="8714896" y="2421703"/>
            <a:ext cx="2460801" cy="276999"/>
          </a:xfrm>
          <a:prstGeom prst="rect">
            <a:avLst/>
          </a:prstGeom>
          <a:noFill/>
          <a:ln w="12700">
            <a:noFill/>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D90000"/>
                </a:solidFill>
                <a:effectLst/>
                <a:uLnTx/>
                <a:uFillTx/>
                <a:latin typeface="ABBvoice"/>
                <a:ea typeface="ABBvoiceOffice" panose="020D0603020503020204" pitchFamily="34" charset="0"/>
                <a:cs typeface="ABBvoiceOffice" panose="020D0603020503020204" pitchFamily="34" charset="0"/>
              </a:rPr>
              <a:t>LST400</a:t>
            </a:r>
          </a:p>
        </p:txBody>
      </p:sp>
      <p:sp>
        <p:nvSpPr>
          <p:cNvPr id="15" name="Content Placeholder 1">
            <a:extLst>
              <a:ext uri="{FF2B5EF4-FFF2-40B4-BE49-F238E27FC236}">
                <a16:creationId xmlns:a16="http://schemas.microsoft.com/office/drawing/2014/main" id="{5E2A8A36-6162-4558-8345-FCF683CE0487}"/>
              </a:ext>
            </a:extLst>
          </p:cNvPr>
          <p:cNvSpPr txBox="1">
            <a:spLocks/>
          </p:cNvSpPr>
          <p:nvPr/>
        </p:nvSpPr>
        <p:spPr bwMode="gray">
          <a:xfrm>
            <a:off x="4387225" y="4866685"/>
            <a:ext cx="3462875" cy="1060720"/>
          </a:xfrm>
          <a:prstGeom prst="rect">
            <a:avLst/>
          </a:prstGeom>
        </p:spPr>
        <p:txBody>
          <a:bodyPr vert="horz" lIns="0" tIns="0" rIns="0" bIns="0" rtlCol="0" anchor="t">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177800" marR="0" lvl="1" indent="-177800" algn="l" defTabSz="914491" rtl="0" fontAlgn="auto" latinLnBrk="0" hangingPunct="1">
              <a:lnSpc>
                <a:spcPct val="100000"/>
              </a:lnSpc>
              <a:spcBef>
                <a:spcPts val="600"/>
              </a:spcBef>
              <a:spcAft>
                <a:spcPts val="0"/>
              </a:spcAft>
              <a:buClrTx/>
              <a:buSzTx/>
              <a:buFont typeface="ABBvoiceOffice" panose="020D0603020503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BBvoice"/>
              <a:ea typeface="ABBvoice"/>
              <a:cs typeface="ABBvoice"/>
            </a:endParaRPr>
          </a:p>
        </p:txBody>
      </p:sp>
      <p:pic>
        <p:nvPicPr>
          <p:cNvPr id="24" name="Picture 23">
            <a:extLst>
              <a:ext uri="{FF2B5EF4-FFF2-40B4-BE49-F238E27FC236}">
                <a16:creationId xmlns:a16="http://schemas.microsoft.com/office/drawing/2014/main" id="{6F6CA55F-5B86-41C1-91EA-190744EF005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654314" y="2852116"/>
            <a:ext cx="996209" cy="1660348"/>
          </a:xfrm>
          <a:prstGeom prst="rect">
            <a:avLst/>
          </a:prstGeom>
        </p:spPr>
      </p:pic>
      <p:pic>
        <p:nvPicPr>
          <p:cNvPr id="25" name="Picture 24">
            <a:extLst>
              <a:ext uri="{FF2B5EF4-FFF2-40B4-BE49-F238E27FC236}">
                <a16:creationId xmlns:a16="http://schemas.microsoft.com/office/drawing/2014/main" id="{17B0929D-1590-420F-89C4-0E99FF65848B}"/>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502670" y="2963452"/>
            <a:ext cx="1673027" cy="1219174"/>
          </a:xfrm>
          <a:prstGeom prst="rect">
            <a:avLst/>
          </a:prstGeom>
        </p:spPr>
      </p:pic>
      <p:pic>
        <p:nvPicPr>
          <p:cNvPr id="26" name="Picture 25">
            <a:extLst>
              <a:ext uri="{FF2B5EF4-FFF2-40B4-BE49-F238E27FC236}">
                <a16:creationId xmlns:a16="http://schemas.microsoft.com/office/drawing/2014/main" id="{E55930E7-BAFB-4ADF-A97B-7E1285F9920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317137" y="2910219"/>
            <a:ext cx="1117221" cy="1170759"/>
          </a:xfrm>
          <a:prstGeom prst="rect">
            <a:avLst/>
          </a:prstGeom>
        </p:spPr>
      </p:pic>
      <p:sp>
        <p:nvSpPr>
          <p:cNvPr id="7" name="TextBox 6">
            <a:extLst>
              <a:ext uri="{FF2B5EF4-FFF2-40B4-BE49-F238E27FC236}">
                <a16:creationId xmlns:a16="http://schemas.microsoft.com/office/drawing/2014/main" id="{8C1404F8-F0A6-415B-B042-CC0C05B15DD3}"/>
              </a:ext>
            </a:extLst>
          </p:cNvPr>
          <p:cNvSpPr txBox="1"/>
          <p:nvPr/>
        </p:nvSpPr>
        <p:spPr bwMode="gray">
          <a:xfrm>
            <a:off x="307707" y="4368581"/>
            <a:ext cx="3956873" cy="1297112"/>
          </a:xfrm>
          <a:prstGeom prst="rect">
            <a:avLst/>
          </a:prstGeom>
          <a:noFill/>
        </p:spPr>
        <p:txBody>
          <a:bodyPr wrap="square" lIns="72000" tIns="72000" rIns="72000" bIns="72000" rtlCol="0">
            <a:noAutofit/>
          </a:bodyPr>
          <a:lstStyle/>
          <a:p>
            <a:r>
              <a:rPr lang="en-US" altLang="zh-CN" sz="1400" dirty="0"/>
              <a:t>Introducing…</a:t>
            </a:r>
          </a:p>
          <a:p>
            <a:pPr marL="285750" indent="-285750">
              <a:buFont typeface="ABBvoice" panose="020D0603020503020204" pitchFamily="34" charset="0"/>
              <a:buChar char="–"/>
            </a:pPr>
            <a:r>
              <a:rPr lang="en-US" altLang="zh-CN" sz="1400" dirty="0"/>
              <a:t>Winner of Red-dot which only awards  ” sought-after seal of quality that feature an outstanding design”</a:t>
            </a:r>
          </a:p>
          <a:p>
            <a:pPr marL="285750" indent="-285750">
              <a:buFont typeface="ABBvoice" panose="020D0603020503020204" pitchFamily="34" charset="0"/>
              <a:buChar char="–"/>
            </a:pPr>
            <a:r>
              <a:rPr lang="en-US" altLang="zh-CN" sz="1400" dirty="0"/>
              <a:t>Essential design for water &amp; wastewater</a:t>
            </a:r>
          </a:p>
          <a:p>
            <a:pPr marL="285750" indent="-285750">
              <a:buFont typeface="ABBvoice" panose="020D0603020503020204" pitchFamily="34" charset="0"/>
              <a:buChar char="–"/>
            </a:pPr>
            <a:r>
              <a:rPr lang="en-US" altLang="zh-CN" sz="1400" dirty="0"/>
              <a:t>Lower total expenditure</a:t>
            </a:r>
          </a:p>
          <a:p>
            <a:endParaRPr lang="en-US" altLang="zh-CN" sz="1400" dirty="0"/>
          </a:p>
          <a:p>
            <a:r>
              <a:rPr lang="en-US" altLang="zh-CN" sz="1400" dirty="0"/>
              <a:t> </a:t>
            </a:r>
            <a:endParaRPr lang="zh-CN" altLang="en-US" sz="1400" dirty="0" err="1"/>
          </a:p>
        </p:txBody>
      </p:sp>
      <p:sp>
        <p:nvSpPr>
          <p:cNvPr id="27" name="TextBox 26">
            <a:extLst>
              <a:ext uri="{FF2B5EF4-FFF2-40B4-BE49-F238E27FC236}">
                <a16:creationId xmlns:a16="http://schemas.microsoft.com/office/drawing/2014/main" id="{0C0CEB81-1A2E-4002-BCE3-3538AAAD67E9}"/>
              </a:ext>
            </a:extLst>
          </p:cNvPr>
          <p:cNvSpPr txBox="1"/>
          <p:nvPr/>
        </p:nvSpPr>
        <p:spPr bwMode="gray">
          <a:xfrm>
            <a:off x="4143759" y="4350611"/>
            <a:ext cx="4017317" cy="1315082"/>
          </a:xfrm>
          <a:prstGeom prst="rect">
            <a:avLst/>
          </a:prstGeom>
          <a:noFill/>
        </p:spPr>
        <p:txBody>
          <a:bodyPr wrap="square" lIns="72000" tIns="72000" rIns="72000" bIns="72000" rtlCol="0">
            <a:noAutofit/>
          </a:bodyPr>
          <a:lstStyle/>
          <a:p>
            <a:r>
              <a:rPr lang="en-US" altLang="zh-CN" sz="1400" dirty="0"/>
              <a:t>All-around transmitter with leading feature</a:t>
            </a:r>
            <a:endParaRPr lang="de-DE" altLang="zh-CN" sz="1400" dirty="0"/>
          </a:p>
          <a:p>
            <a:pPr marL="285750" indent="-285750">
              <a:buFontTx/>
              <a:buChar char="-"/>
            </a:pPr>
            <a:r>
              <a:rPr lang="de-DE" altLang="zh-CN" sz="1400" dirty="0"/>
              <a:t>ATEX, IEC, FM &amp; NEPSI for hazardous area</a:t>
            </a:r>
          </a:p>
          <a:p>
            <a:pPr marL="285750" indent="-285750">
              <a:buFontTx/>
              <a:buChar char="-"/>
            </a:pPr>
            <a:r>
              <a:rPr lang="en-US" altLang="zh-CN" sz="1400" dirty="0"/>
              <a:t>Accuracy of ±2mm or 0.2% of full span </a:t>
            </a:r>
          </a:p>
          <a:p>
            <a:pPr marL="285750" indent="-285750">
              <a:buFontTx/>
              <a:buChar char="-"/>
            </a:pPr>
            <a:r>
              <a:rPr lang="en-US" altLang="zh-CN" sz="1400" dirty="0"/>
              <a:t>-40ºC - 85ºC</a:t>
            </a:r>
          </a:p>
          <a:p>
            <a:pPr marL="285750" indent="-285750">
              <a:buFontTx/>
              <a:buChar char="-"/>
            </a:pPr>
            <a:r>
              <a:rPr lang="en-US" altLang="zh-CN" sz="1400" dirty="0">
                <a:latin typeface="Arial" pitchFamily="34" charset="0"/>
                <a:cs typeface="Arial" pitchFamily="34" charset="0"/>
              </a:rPr>
              <a:t>Standard</a:t>
            </a:r>
            <a:r>
              <a:rPr lang="de-DE" altLang="zh-CN" sz="1400" dirty="0">
                <a:latin typeface="Arial" pitchFamily="34" charset="0"/>
                <a:cs typeface="Arial" pitchFamily="34" charset="0"/>
              </a:rPr>
              <a:t> corrosion resistant PVDF sensor and metal housing with seperate conpartment</a:t>
            </a:r>
          </a:p>
          <a:p>
            <a:pPr marL="285750" indent="-285750">
              <a:buFontTx/>
              <a:buChar char="-"/>
            </a:pPr>
            <a:r>
              <a:rPr lang="en-US" altLang="zh-CN" sz="1400" dirty="0"/>
              <a:t>False echo filtering </a:t>
            </a:r>
          </a:p>
          <a:p>
            <a:pPr marL="285750" indent="-285750">
              <a:buFontTx/>
              <a:buChar char="-"/>
            </a:pPr>
            <a:endParaRPr lang="de-DE" altLang="zh-CN" sz="1400" dirty="0">
              <a:latin typeface="Arial" pitchFamily="34" charset="0"/>
              <a:cs typeface="Arial" pitchFamily="34" charset="0"/>
            </a:endParaRPr>
          </a:p>
          <a:p>
            <a:endParaRPr lang="de-DE" altLang="zh-CN" sz="1400" dirty="0">
              <a:latin typeface="Arial" pitchFamily="34" charset="0"/>
              <a:cs typeface="Arial" pitchFamily="34" charset="0"/>
            </a:endParaRPr>
          </a:p>
          <a:p>
            <a:endParaRPr lang="de-DE" altLang="zh-CN" sz="1400" dirty="0"/>
          </a:p>
          <a:p>
            <a:endParaRPr lang="en-US" altLang="zh-CN" sz="1400" dirty="0"/>
          </a:p>
          <a:p>
            <a:r>
              <a:rPr lang="en-US" altLang="zh-CN" sz="1400" dirty="0"/>
              <a:t> </a:t>
            </a:r>
            <a:endParaRPr lang="zh-CN" altLang="en-US" sz="1400" dirty="0" err="1"/>
          </a:p>
        </p:txBody>
      </p:sp>
      <p:sp>
        <p:nvSpPr>
          <p:cNvPr id="28" name="TextBox 27">
            <a:extLst>
              <a:ext uri="{FF2B5EF4-FFF2-40B4-BE49-F238E27FC236}">
                <a16:creationId xmlns:a16="http://schemas.microsoft.com/office/drawing/2014/main" id="{7BB83BA9-4FBC-421C-B4A9-09C99932950E}"/>
              </a:ext>
            </a:extLst>
          </p:cNvPr>
          <p:cNvSpPr txBox="1"/>
          <p:nvPr/>
        </p:nvSpPr>
        <p:spPr bwMode="gray">
          <a:xfrm>
            <a:off x="8227102" y="4365338"/>
            <a:ext cx="4017317" cy="1718261"/>
          </a:xfrm>
          <a:prstGeom prst="rect">
            <a:avLst/>
          </a:prstGeom>
          <a:noFill/>
        </p:spPr>
        <p:txBody>
          <a:bodyPr wrap="square" lIns="72000" tIns="72000" rIns="72000" bIns="72000" rtlCol="0">
            <a:noAutofit/>
          </a:bodyPr>
          <a:lstStyle/>
          <a:p>
            <a:pPr marL="457200" indent="-457200">
              <a:lnSpc>
                <a:spcPct val="85000"/>
              </a:lnSpc>
              <a:spcBef>
                <a:spcPct val="15000"/>
              </a:spcBef>
              <a:spcAft>
                <a:spcPct val="5000"/>
              </a:spcAft>
            </a:pPr>
            <a:r>
              <a:rPr lang="en-US" altLang="zh-CN" sz="1400" dirty="0">
                <a:ea typeface="ＭＳ Ｐゴシック" pitchFamily="34" charset="-128"/>
              </a:rPr>
              <a:t>Survives where </a:t>
            </a:r>
            <a:r>
              <a:rPr lang="en-US" altLang="zh-CN" sz="1400" dirty="0"/>
              <a:t>others</a:t>
            </a:r>
            <a:r>
              <a:rPr lang="en-US" altLang="zh-CN" sz="1400" dirty="0">
                <a:ea typeface="ＭＳ Ｐゴシック" pitchFamily="34" charset="-128"/>
              </a:rPr>
              <a:t> fail</a:t>
            </a:r>
          </a:p>
          <a:p>
            <a:pPr marL="457200" indent="-457200">
              <a:lnSpc>
                <a:spcPct val="85000"/>
              </a:lnSpc>
              <a:spcBef>
                <a:spcPct val="15000"/>
              </a:spcBef>
              <a:spcAft>
                <a:spcPct val="5000"/>
              </a:spcAft>
              <a:buFontTx/>
              <a:buChar char="-"/>
            </a:pPr>
            <a:r>
              <a:rPr lang="en-US" altLang="zh-CN" sz="1400" dirty="0"/>
              <a:t>Remote option for challenging installation</a:t>
            </a:r>
          </a:p>
          <a:p>
            <a:pPr marL="457200" indent="-457200">
              <a:lnSpc>
                <a:spcPct val="85000"/>
              </a:lnSpc>
              <a:spcBef>
                <a:spcPct val="15000"/>
              </a:spcBef>
              <a:spcAft>
                <a:spcPct val="5000"/>
              </a:spcAft>
              <a:buFontTx/>
              <a:buChar char="-"/>
            </a:pPr>
            <a:r>
              <a:rPr lang="en-US" altLang="zh-CN" sz="1400" dirty="0"/>
              <a:t>Up to 30m range even for difficult </a:t>
            </a:r>
            <a:r>
              <a:rPr lang="de-DE" altLang="zh-CN" sz="1400" dirty="0"/>
              <a:t>solids</a:t>
            </a:r>
            <a:r>
              <a:rPr lang="de-DE" altLang="zh-CN" sz="1400" dirty="0">
                <a:latin typeface="Arial" pitchFamily="34" charset="0"/>
                <a:cs typeface="Arial" pitchFamily="34" charset="0"/>
              </a:rPr>
              <a:t> measurement </a:t>
            </a:r>
            <a:r>
              <a:rPr lang="en-US" altLang="zh-CN" sz="1400" dirty="0"/>
              <a:t> </a:t>
            </a:r>
          </a:p>
          <a:p>
            <a:pPr marL="457200" indent="-457200">
              <a:lnSpc>
                <a:spcPct val="85000"/>
              </a:lnSpc>
              <a:spcBef>
                <a:spcPct val="15000"/>
              </a:spcBef>
              <a:spcAft>
                <a:spcPct val="5000"/>
              </a:spcAft>
              <a:buFontTx/>
              <a:buChar char="-"/>
            </a:pPr>
            <a:r>
              <a:rPr lang="en-US" altLang="zh-CN" sz="1400" dirty="0"/>
              <a:t>Five relays for pump control</a:t>
            </a:r>
          </a:p>
          <a:p>
            <a:pPr marL="457200" indent="-457200">
              <a:lnSpc>
                <a:spcPct val="85000"/>
              </a:lnSpc>
              <a:spcBef>
                <a:spcPct val="15000"/>
              </a:spcBef>
              <a:spcAft>
                <a:spcPct val="5000"/>
              </a:spcAft>
            </a:pPr>
            <a:endParaRPr lang="en-US" altLang="zh-CN" sz="1400" dirty="0">
              <a:solidFill>
                <a:schemeClr val="accent2"/>
              </a:solidFill>
              <a:ea typeface="ＭＳ Ｐゴシック" pitchFamily="34" charset="-128"/>
            </a:endParaRPr>
          </a:p>
          <a:p>
            <a:endParaRPr lang="de-DE" altLang="zh-CN" sz="1400" dirty="0">
              <a:latin typeface="Arial" pitchFamily="34" charset="0"/>
              <a:cs typeface="Arial" pitchFamily="34" charset="0"/>
            </a:endParaRPr>
          </a:p>
          <a:p>
            <a:endParaRPr lang="de-DE" altLang="zh-CN" sz="1400" dirty="0"/>
          </a:p>
          <a:p>
            <a:endParaRPr lang="en-US" altLang="zh-CN" sz="1400" dirty="0"/>
          </a:p>
          <a:p>
            <a:r>
              <a:rPr lang="en-US" altLang="zh-CN" sz="1400" dirty="0"/>
              <a:t> </a:t>
            </a:r>
            <a:endParaRPr lang="zh-CN" altLang="en-US" sz="1400" dirty="0" err="1"/>
          </a:p>
        </p:txBody>
      </p:sp>
      <p:pic>
        <p:nvPicPr>
          <p:cNvPr id="21" name="Picture 20">
            <a:extLst>
              <a:ext uri="{FF2B5EF4-FFF2-40B4-BE49-F238E27FC236}">
                <a16:creationId xmlns:a16="http://schemas.microsoft.com/office/drawing/2014/main" id="{0802BBF2-65C7-409F-8796-23123246FC72}"/>
              </a:ext>
            </a:extLst>
          </p:cNvPr>
          <p:cNvPicPr/>
          <p:nvPr/>
        </p:nvPicPr>
        <p:blipFill>
          <a:blip r:embed="rId11" cstate="print">
            <a:extLst>
              <a:ext uri="{28A0092B-C50C-407E-A947-70E740481C1C}">
                <a14:useLocalDpi xmlns:a14="http://schemas.microsoft.com/office/drawing/2010/main"/>
              </a:ext>
            </a:extLst>
          </a:blip>
          <a:srcRect/>
          <a:stretch>
            <a:fillRect/>
          </a:stretch>
        </p:blipFill>
        <p:spPr bwMode="auto">
          <a:xfrm>
            <a:off x="722795" y="3141211"/>
            <a:ext cx="1454150" cy="784860"/>
          </a:xfrm>
          <a:prstGeom prst="rect">
            <a:avLst/>
          </a:prstGeom>
          <a:noFill/>
          <a:ln>
            <a:noFill/>
          </a:ln>
        </p:spPr>
      </p:pic>
    </p:spTree>
    <p:extLst>
      <p:ext uri="{BB962C8B-B14F-4D97-AF65-F5344CB8AC3E}">
        <p14:creationId xmlns:p14="http://schemas.microsoft.com/office/powerpoint/2010/main" val="1508712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altLang="zh-CN" dirty="0"/>
              <a:t>LST200 ultrasonic level transmitter</a:t>
            </a:r>
            <a:endParaRPr lang="en-US" dirty="0"/>
          </a:p>
        </p:txBody>
      </p:sp>
      <p:sp>
        <p:nvSpPr>
          <p:cNvPr id="3" name="Untertitel 2"/>
          <p:cNvSpPr>
            <a:spLocks noGrp="1"/>
          </p:cNvSpPr>
          <p:nvPr>
            <p:ph type="subTitle" idx="1"/>
          </p:nvPr>
        </p:nvSpPr>
        <p:spPr/>
        <p:txBody>
          <a:bodyPr/>
          <a:lstStyle/>
          <a:p>
            <a:r>
              <a:rPr lang="en-US" altLang="zh-CN" dirty="0"/>
              <a:t>Summary: </a:t>
            </a:r>
            <a:r>
              <a:rPr lang="zh-CN" altLang="en-US" dirty="0"/>
              <a:t>：</a:t>
            </a:r>
            <a:r>
              <a:rPr lang="en-US" altLang="zh-CN" dirty="0"/>
              <a:t>An easy choice for intelligent level measurement </a:t>
            </a:r>
            <a:endParaRPr lang="en-US" dirty="0"/>
          </a:p>
        </p:txBody>
      </p:sp>
    </p:spTree>
    <p:extLst>
      <p:ext uri="{BB962C8B-B14F-4D97-AF65-F5344CB8AC3E}">
        <p14:creationId xmlns:p14="http://schemas.microsoft.com/office/powerpoint/2010/main" val="137911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2436E-E2F1-4798-9CD2-17F656327B90}"/>
              </a:ext>
            </a:extLst>
          </p:cNvPr>
          <p:cNvSpPr>
            <a:spLocks noGrp="1"/>
          </p:cNvSpPr>
          <p:nvPr>
            <p:ph type="title"/>
          </p:nvPr>
        </p:nvSpPr>
        <p:spPr/>
        <p:txBody>
          <a:bodyPr/>
          <a:lstStyle/>
          <a:p>
            <a:r>
              <a:rPr lang="en-US" altLang="zh-CN" dirty="0"/>
              <a:t>LST200 ultrasonic level transmitter</a:t>
            </a:r>
            <a:endParaRPr lang="en-GB" altLang="zh-CN" dirty="0"/>
          </a:p>
        </p:txBody>
      </p:sp>
      <p:sp>
        <p:nvSpPr>
          <p:cNvPr id="3" name="Footer Placeholder 2">
            <a:extLst>
              <a:ext uri="{FF2B5EF4-FFF2-40B4-BE49-F238E27FC236}">
                <a16:creationId xmlns:a16="http://schemas.microsoft.com/office/drawing/2014/main" id="{43B240C9-795E-46FB-9E9A-772EEB000F48}"/>
              </a:ext>
            </a:extLst>
          </p:cNvPr>
          <p:cNvSpPr>
            <a:spLocks noGrp="1"/>
          </p:cNvSpPr>
          <p:nvPr>
            <p:ph type="ftr" sz="quarter" idx="10"/>
          </p:nvPr>
        </p:nvSpPr>
        <p:spPr/>
        <p:txBody>
          <a:bodyPr/>
          <a:lstStyle/>
          <a:p>
            <a:pPr lvl="8"/>
            <a:endParaRPr lang="en-US" dirty="0"/>
          </a:p>
        </p:txBody>
      </p:sp>
      <p:sp>
        <p:nvSpPr>
          <p:cNvPr id="5" name="Slide Number Placeholder 4">
            <a:extLst>
              <a:ext uri="{FF2B5EF4-FFF2-40B4-BE49-F238E27FC236}">
                <a16:creationId xmlns:a16="http://schemas.microsoft.com/office/drawing/2014/main" id="{0D920F75-ABB6-4357-923C-EE2215EB1CBA}"/>
              </a:ext>
            </a:extLst>
          </p:cNvPr>
          <p:cNvSpPr>
            <a:spLocks noGrp="1"/>
          </p:cNvSpPr>
          <p:nvPr>
            <p:ph type="sldNum" sz="quarter" idx="12"/>
          </p:nvPr>
        </p:nvSpPr>
        <p:spPr/>
        <p:txBody>
          <a:bodyPr/>
          <a:lstStyle/>
          <a:p>
            <a:r>
              <a:rPr lang="en-US"/>
              <a:t>Slide </a:t>
            </a:r>
            <a:fld id="{619F89D8-7AE3-494A-97F3-03D680869632}" type="slidenum">
              <a:rPr lang="en-US" smtClean="0"/>
              <a:pPr/>
              <a:t>31</a:t>
            </a:fld>
            <a:endParaRPr lang="en-US"/>
          </a:p>
        </p:txBody>
      </p:sp>
      <p:sp>
        <p:nvSpPr>
          <p:cNvPr id="15" name="Text Placeholder 14">
            <a:extLst>
              <a:ext uri="{FF2B5EF4-FFF2-40B4-BE49-F238E27FC236}">
                <a16:creationId xmlns:a16="http://schemas.microsoft.com/office/drawing/2014/main" id="{D62A2587-D783-49C8-A28C-969AB607CD09}"/>
              </a:ext>
            </a:extLst>
          </p:cNvPr>
          <p:cNvSpPr>
            <a:spLocks noGrp="1"/>
          </p:cNvSpPr>
          <p:nvPr>
            <p:ph type="body" sz="quarter" idx="16"/>
          </p:nvPr>
        </p:nvSpPr>
        <p:spPr>
          <a:xfrm>
            <a:off x="333263" y="1931195"/>
            <a:ext cx="4825795" cy="234636"/>
          </a:xfrm>
        </p:spPr>
        <p:txBody>
          <a:bodyPr/>
          <a:lstStyle/>
          <a:p>
            <a:r>
              <a:rPr lang="en-US" altLang="zh-CN" b="0" dirty="0"/>
              <a:t>The easy choice for intelligent level measurement</a:t>
            </a:r>
          </a:p>
          <a:p>
            <a:endParaRPr lang="zh-CN" altLang="en-US" b="0" dirty="0"/>
          </a:p>
        </p:txBody>
      </p:sp>
      <p:sp>
        <p:nvSpPr>
          <p:cNvPr id="7" name="Content Placeholder 6">
            <a:extLst>
              <a:ext uri="{FF2B5EF4-FFF2-40B4-BE49-F238E27FC236}">
                <a16:creationId xmlns:a16="http://schemas.microsoft.com/office/drawing/2014/main" id="{8A8DB003-CE2D-484B-A35B-82EECC138050}"/>
              </a:ext>
            </a:extLst>
          </p:cNvPr>
          <p:cNvSpPr>
            <a:spLocks noGrp="1"/>
          </p:cNvSpPr>
          <p:nvPr>
            <p:ph sz="quarter" idx="19"/>
          </p:nvPr>
        </p:nvSpPr>
        <p:spPr/>
        <p:txBody>
          <a:bodyPr/>
          <a:lstStyle/>
          <a:p>
            <a:r>
              <a:rPr lang="en-US" altLang="zh-CN" dirty="0"/>
              <a:t>Water and wastewater is a mature market with a lot of competitors  </a:t>
            </a:r>
            <a:endParaRPr lang="en-US" dirty="0"/>
          </a:p>
          <a:p>
            <a:r>
              <a:rPr lang="en-US" altLang="zh-CN" dirty="0"/>
              <a:t>Based on repeated market research, LST200 absorbs expected features for the specific market and turns them into an essential design</a:t>
            </a:r>
          </a:p>
          <a:p>
            <a:r>
              <a:rPr lang="en-US" dirty="0"/>
              <a:t>The streamlined </a:t>
            </a:r>
            <a:r>
              <a:rPr lang="en-US" altLang="zh-CN" dirty="0"/>
              <a:t>outlook with </a:t>
            </a:r>
            <a:r>
              <a:rPr lang="en-US" dirty="0"/>
              <a:t>blue backlit, further simplified easy setup menu and  GAP stabilizer algorithm are LST200’s key differentia</a:t>
            </a:r>
            <a:r>
              <a:rPr lang="en-US" altLang="zh-CN" dirty="0"/>
              <a:t>tion </a:t>
            </a:r>
            <a:endParaRPr lang="en-US" dirty="0"/>
          </a:p>
          <a:p>
            <a:r>
              <a:rPr lang="en-US" altLang="zh-CN" dirty="0"/>
              <a:t>Thanks to its modular design, user-friendly interface and built-in intelligence, it meets our customers’ key requirements for ease and reliability especially when they are considering total expenditure on the device from purchasing, to installation and maintenance.</a:t>
            </a:r>
          </a:p>
        </p:txBody>
      </p:sp>
      <p:sp>
        <p:nvSpPr>
          <p:cNvPr id="14" name="Subtitle 13">
            <a:extLst>
              <a:ext uri="{FF2B5EF4-FFF2-40B4-BE49-F238E27FC236}">
                <a16:creationId xmlns:a16="http://schemas.microsoft.com/office/drawing/2014/main" id="{C9294AFE-CB24-461B-9CDB-618C609B8619}"/>
              </a:ext>
            </a:extLst>
          </p:cNvPr>
          <p:cNvSpPr>
            <a:spLocks noGrp="1"/>
          </p:cNvSpPr>
          <p:nvPr>
            <p:ph type="subTitle" idx="13"/>
          </p:nvPr>
        </p:nvSpPr>
        <p:spPr/>
        <p:txBody>
          <a:bodyPr/>
          <a:lstStyle/>
          <a:p>
            <a:r>
              <a:rPr lang="en-US" altLang="zh-CN" dirty="0"/>
              <a:t>Summary</a:t>
            </a:r>
          </a:p>
        </p:txBody>
      </p:sp>
      <p:pic>
        <p:nvPicPr>
          <p:cNvPr id="6" name="Picture 5" descr="Diagram&#10;&#10;Description automatically generated">
            <a:extLst>
              <a:ext uri="{FF2B5EF4-FFF2-40B4-BE49-F238E27FC236}">
                <a16:creationId xmlns:a16="http://schemas.microsoft.com/office/drawing/2014/main" id="{283367C9-072E-4B61-AEB6-400C39D8A67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08026" y="536806"/>
            <a:ext cx="4786693" cy="5375309"/>
          </a:xfrm>
          <a:prstGeom prst="rect">
            <a:avLst/>
          </a:prstGeom>
        </p:spPr>
      </p:pic>
    </p:spTree>
    <p:extLst>
      <p:ext uri="{BB962C8B-B14F-4D97-AF65-F5344CB8AC3E}">
        <p14:creationId xmlns:p14="http://schemas.microsoft.com/office/powerpoint/2010/main" val="832838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154AAD2-0FA1-40C3-BDB9-1741228A7DD6}"/>
              </a:ext>
            </a:extLst>
          </p:cNvPr>
          <p:cNvSpPr>
            <a:spLocks noGrp="1"/>
          </p:cNvSpPr>
          <p:nvPr>
            <p:ph type="dt" sz="half" idx="11"/>
          </p:nvPr>
        </p:nvSpPr>
        <p:spPr/>
        <p:txBody>
          <a:bodyPr/>
          <a:lstStyle/>
          <a:p>
            <a:fld id="{70479A72-920A-415B-8469-E7772A79C549}" type="datetime4">
              <a:rPr lang="en-US" smtClean="0"/>
              <a:t>June 17, 2021</a:t>
            </a:fld>
            <a:endParaRPr lang="en-US" dirty="0"/>
          </a:p>
        </p:txBody>
      </p:sp>
      <p:sp>
        <p:nvSpPr>
          <p:cNvPr id="4" name="Slide Number Placeholder 3">
            <a:extLst>
              <a:ext uri="{FF2B5EF4-FFF2-40B4-BE49-F238E27FC236}">
                <a16:creationId xmlns:a16="http://schemas.microsoft.com/office/drawing/2014/main" id="{49AC3271-A931-471E-A9DC-A2357A91E9F3}"/>
              </a:ext>
            </a:extLst>
          </p:cNvPr>
          <p:cNvSpPr>
            <a:spLocks noGrp="1"/>
          </p:cNvSpPr>
          <p:nvPr>
            <p:ph type="sldNum" sz="quarter" idx="12"/>
          </p:nvPr>
        </p:nvSpPr>
        <p:spPr/>
        <p:txBody>
          <a:bodyPr/>
          <a:lstStyle/>
          <a:p>
            <a:r>
              <a:rPr lang="en-US" dirty="0"/>
              <a:t>Slide </a:t>
            </a:r>
            <a:fld id="{619F89D8-7AE3-494A-97F3-03D680869632}" type="slidenum">
              <a:rPr lang="en-US" smtClean="0"/>
              <a:pPr/>
              <a:t>32</a:t>
            </a:fld>
            <a:endParaRPr lang="en-US" dirty="0"/>
          </a:p>
        </p:txBody>
      </p:sp>
    </p:spTree>
    <p:extLst>
      <p:ext uri="{BB962C8B-B14F-4D97-AF65-F5344CB8AC3E}">
        <p14:creationId xmlns:p14="http://schemas.microsoft.com/office/powerpoint/2010/main" val="1699956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sz="quarter" idx="21"/>
          </p:nvPr>
        </p:nvSpPr>
        <p:spPr>
          <a:xfrm>
            <a:off x="626332" y="2137305"/>
            <a:ext cx="5270992" cy="1242801"/>
          </a:xfrm>
        </p:spPr>
        <p:txBody>
          <a:bodyPr/>
          <a:lstStyle/>
          <a:p>
            <a:r>
              <a:rPr lang="en-US" altLang="zh-CN" dirty="0"/>
              <a:t>Ultrasonic pulses travel at a certain speed V in the direction of product surface. When some of the energy is reflected and travels back towards the sensor, by measuring the time(t) elapsed between the initial pulse and the reflected one, the electronics can calculate the distance (D)</a:t>
            </a:r>
            <a:endParaRPr lang="zh-CN" altLang="zh-CN" dirty="0"/>
          </a:p>
          <a:p>
            <a:r>
              <a:rPr lang="en-US" altLang="zh-CN" dirty="0"/>
              <a:t> </a:t>
            </a:r>
            <a:endParaRPr lang="zh-CN" altLang="zh-CN" dirty="0"/>
          </a:p>
        </p:txBody>
      </p:sp>
      <p:sp>
        <p:nvSpPr>
          <p:cNvPr id="8" name="Title 7"/>
          <p:cNvSpPr>
            <a:spLocks noGrp="1"/>
          </p:cNvSpPr>
          <p:nvPr>
            <p:ph type="title"/>
          </p:nvPr>
        </p:nvSpPr>
        <p:spPr>
          <a:xfrm>
            <a:off x="333264" y="682313"/>
            <a:ext cx="11520000" cy="396000"/>
          </a:xfrm>
        </p:spPr>
        <p:txBody>
          <a:bodyPr/>
          <a:lstStyle/>
          <a:p>
            <a:r>
              <a:rPr lang="en-US" dirty="0"/>
              <a:t>Overview</a:t>
            </a:r>
          </a:p>
        </p:txBody>
      </p:sp>
      <p:sp>
        <p:nvSpPr>
          <p:cNvPr id="2" name="Subtitle 1">
            <a:extLst>
              <a:ext uri="{FF2B5EF4-FFF2-40B4-BE49-F238E27FC236}">
                <a16:creationId xmlns:a16="http://schemas.microsoft.com/office/drawing/2014/main" id="{F4D34747-0E3F-4F40-BA3E-3BE9D0CDCF08}"/>
              </a:ext>
            </a:extLst>
          </p:cNvPr>
          <p:cNvSpPr>
            <a:spLocks noGrp="1"/>
          </p:cNvSpPr>
          <p:nvPr>
            <p:ph type="subTitle" idx="13"/>
          </p:nvPr>
        </p:nvSpPr>
        <p:spPr>
          <a:xfrm>
            <a:off x="333264" y="1085213"/>
            <a:ext cx="11520000" cy="504000"/>
          </a:xfrm>
        </p:spPr>
        <p:txBody>
          <a:bodyPr/>
          <a:lstStyle/>
          <a:p>
            <a:r>
              <a:rPr lang="de-DE" altLang="zh-CN" dirty="0">
                <a:latin typeface="Arial" panose="020B0604020202020204" pitchFamily="34" charset="0"/>
              </a:rPr>
              <a:t>How does the </a:t>
            </a:r>
            <a:r>
              <a:rPr lang="en-US" altLang="zh-CN" dirty="0">
                <a:latin typeface="Arial" panose="020B0604020202020204" pitchFamily="34" charset="0"/>
              </a:rPr>
              <a:t>ultrasonic level transmitter work </a:t>
            </a:r>
            <a:endParaRPr lang="en-US" altLang="en-US" dirty="0">
              <a:latin typeface="Arial" panose="020B0604020202020204" pitchFamily="34" charset="0"/>
            </a:endParaRPr>
          </a:p>
          <a:p>
            <a:endParaRPr lang="fr-CA" dirty="0"/>
          </a:p>
        </p:txBody>
      </p:sp>
      <p:pic>
        <p:nvPicPr>
          <p:cNvPr id="12" name="Picture 2" descr="j0201746">
            <a:extLst>
              <a:ext uri="{FF2B5EF4-FFF2-40B4-BE49-F238E27FC236}">
                <a16:creationId xmlns:a16="http://schemas.microsoft.com/office/drawing/2014/main" id="{6C06D357-6E11-4F30-B021-E2C5E1E546D4}"/>
              </a:ext>
            </a:extLst>
          </p:cNvPr>
          <p:cNvPicPr>
            <a:picLocks noChangeAspect="1" noChangeArrowheads="1"/>
          </p:cNvPicPr>
          <p:nvPr/>
        </p:nvPicPr>
        <p:blipFill>
          <a:blip r:embed="rId4" cstate="screen">
            <a:extLst>
              <a:ext uri="{BEBA8EAE-BF5A-486C-A8C5-ECC9F3942E4B}">
                <a14:imgProps xmlns:a14="http://schemas.microsoft.com/office/drawing/2010/main">
                  <a14:imgLayer r:embed="rId5">
                    <a14:imgEffect>
                      <a14:colorTemperature colorTemp="11500"/>
                    </a14:imgEffect>
                    <a14:imgEffect>
                      <a14:saturation sat="43000"/>
                    </a14:imgEffect>
                  </a14:imgLayer>
                </a14:imgProps>
              </a:ext>
              <a:ext uri="{28A0092B-C50C-407E-A947-70E740481C1C}">
                <a14:useLocalDpi xmlns:a14="http://schemas.microsoft.com/office/drawing/2010/main"/>
              </a:ext>
            </a:extLst>
          </a:blip>
          <a:srcRect/>
          <a:stretch>
            <a:fillRect/>
          </a:stretch>
        </p:blipFill>
        <p:spPr bwMode="auto">
          <a:xfrm>
            <a:off x="6217286" y="4763717"/>
            <a:ext cx="358140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4">
            <a:extLst>
              <a:ext uri="{FF2B5EF4-FFF2-40B4-BE49-F238E27FC236}">
                <a16:creationId xmlns:a16="http://schemas.microsoft.com/office/drawing/2014/main" id="{7F962580-72A0-4401-8077-CCB54AA3040A}"/>
              </a:ext>
            </a:extLst>
          </p:cNvPr>
          <p:cNvSpPr txBox="1">
            <a:spLocks noChangeArrowheads="1"/>
          </p:cNvSpPr>
          <p:nvPr/>
        </p:nvSpPr>
        <p:spPr bwMode="auto">
          <a:xfrm>
            <a:off x="6333350" y="3927105"/>
            <a:ext cx="1026936"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Clr>
                <a:schemeClr val="tx2"/>
              </a:buClr>
              <a:buSzPct val="70000"/>
              <a:buFontTx/>
              <a:buNone/>
            </a:pPr>
            <a:r>
              <a:rPr lang="en-US" altLang="en-US" sz="1400" b="1" dirty="0">
                <a:latin typeface="Arial" panose="020B0604020202020204" pitchFamily="34" charset="0"/>
              </a:rPr>
              <a:t>Return Pulse</a:t>
            </a:r>
          </a:p>
          <a:p>
            <a:pPr eaLnBrk="1" hangingPunct="1">
              <a:lnSpc>
                <a:spcPct val="55000"/>
              </a:lnSpc>
              <a:spcBef>
                <a:spcPct val="50000"/>
              </a:spcBef>
              <a:buClr>
                <a:schemeClr val="tx2"/>
              </a:buClr>
              <a:buSzPct val="70000"/>
              <a:buFontTx/>
              <a:buNone/>
            </a:pPr>
            <a:r>
              <a:rPr lang="en-US" altLang="en-US" sz="1000" b="1" dirty="0">
                <a:latin typeface="Arial" panose="020B0604020202020204" pitchFamily="34" charset="0"/>
              </a:rPr>
              <a:t>(at speed</a:t>
            </a:r>
          </a:p>
          <a:p>
            <a:pPr eaLnBrk="1" hangingPunct="1">
              <a:lnSpc>
                <a:spcPct val="55000"/>
              </a:lnSpc>
              <a:spcBef>
                <a:spcPct val="50000"/>
              </a:spcBef>
              <a:buClr>
                <a:schemeClr val="tx2"/>
              </a:buClr>
              <a:buSzPct val="70000"/>
              <a:buFontTx/>
              <a:buNone/>
            </a:pPr>
            <a:r>
              <a:rPr lang="en-US" altLang="en-US" sz="1000" b="1" dirty="0">
                <a:latin typeface="Arial" panose="020B0604020202020204" pitchFamily="34" charset="0"/>
              </a:rPr>
              <a:t>of ultrasound)</a:t>
            </a:r>
          </a:p>
          <a:p>
            <a:pPr eaLnBrk="1" hangingPunct="1">
              <a:spcBef>
                <a:spcPct val="50000"/>
              </a:spcBef>
              <a:buClr>
                <a:schemeClr val="tx2"/>
              </a:buClr>
              <a:buSzPct val="70000"/>
              <a:buFontTx/>
              <a:buNone/>
            </a:pPr>
            <a:endParaRPr lang="en-US" altLang="en-US" sz="1400" b="1" dirty="0">
              <a:latin typeface="Arial" panose="020B0604020202020204" pitchFamily="34" charset="0"/>
            </a:endParaRPr>
          </a:p>
        </p:txBody>
      </p:sp>
      <p:sp>
        <p:nvSpPr>
          <p:cNvPr id="16" name="Rectangle 5">
            <a:extLst>
              <a:ext uri="{FF2B5EF4-FFF2-40B4-BE49-F238E27FC236}">
                <a16:creationId xmlns:a16="http://schemas.microsoft.com/office/drawing/2014/main" id="{FDAB7012-3151-4713-B3C3-82E42D555C1A}"/>
              </a:ext>
            </a:extLst>
          </p:cNvPr>
          <p:cNvSpPr>
            <a:spLocks noChangeArrowheads="1"/>
          </p:cNvSpPr>
          <p:nvPr/>
        </p:nvSpPr>
        <p:spPr bwMode="auto">
          <a:xfrm>
            <a:off x="6217286" y="2682663"/>
            <a:ext cx="3581400" cy="3376454"/>
          </a:xfrm>
          <a:prstGeom prst="rect">
            <a:avLst/>
          </a:prstGeom>
          <a:noFill/>
          <a:ln w="2857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Clr>
                <a:schemeClr val="tx2"/>
              </a:buClr>
              <a:buSzPct val="70000"/>
              <a:buFontTx/>
              <a:buChar char="•"/>
            </a:pPr>
            <a:endParaRPr lang="en-US" altLang="en-US" sz="1800">
              <a:solidFill>
                <a:srgbClr val="000000"/>
              </a:solidFill>
              <a:latin typeface="Arial" panose="020B0604020202020204" pitchFamily="34" charset="0"/>
            </a:endParaRPr>
          </a:p>
        </p:txBody>
      </p:sp>
      <p:sp>
        <p:nvSpPr>
          <p:cNvPr id="18" name="AutoShape 12">
            <a:extLst>
              <a:ext uri="{FF2B5EF4-FFF2-40B4-BE49-F238E27FC236}">
                <a16:creationId xmlns:a16="http://schemas.microsoft.com/office/drawing/2014/main" id="{0D8AFE99-722D-458A-9DF1-D15FE557377D}"/>
              </a:ext>
            </a:extLst>
          </p:cNvPr>
          <p:cNvSpPr>
            <a:spLocks noChangeArrowheads="1"/>
          </p:cNvSpPr>
          <p:nvPr/>
        </p:nvSpPr>
        <p:spPr bwMode="auto">
          <a:xfrm>
            <a:off x="8702618" y="2868348"/>
            <a:ext cx="152400" cy="1752600"/>
          </a:xfrm>
          <a:prstGeom prst="downArrow">
            <a:avLst>
              <a:gd name="adj1" fmla="val 50000"/>
              <a:gd name="adj2" fmla="val 287500"/>
            </a:avLst>
          </a:prstGeom>
          <a:solidFill>
            <a:schemeClr val="bg2"/>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50000"/>
              </a:spcBef>
              <a:buClr>
                <a:schemeClr val="tx2"/>
              </a:buClr>
              <a:buSzPct val="70000"/>
              <a:buFont typeface="Wingdings" panose="05000000000000000000" pitchFamily="2" charset="2"/>
              <a:buChar char="§"/>
            </a:pPr>
            <a:endParaRPr lang="en-US" altLang="en-US" sz="1800" dirty="0">
              <a:latin typeface="Times New Roman" panose="02020603050405020304" pitchFamily="18" charset="0"/>
            </a:endParaRPr>
          </a:p>
        </p:txBody>
      </p:sp>
      <p:sp>
        <p:nvSpPr>
          <p:cNvPr id="19" name="Text Box 13">
            <a:extLst>
              <a:ext uri="{FF2B5EF4-FFF2-40B4-BE49-F238E27FC236}">
                <a16:creationId xmlns:a16="http://schemas.microsoft.com/office/drawing/2014/main" id="{B264E255-C37D-42ED-9298-D2D5F2259C65}"/>
              </a:ext>
            </a:extLst>
          </p:cNvPr>
          <p:cNvSpPr txBox="1">
            <a:spLocks noChangeArrowheads="1"/>
          </p:cNvSpPr>
          <p:nvPr/>
        </p:nvSpPr>
        <p:spPr bwMode="auto">
          <a:xfrm>
            <a:off x="8871586" y="2798392"/>
            <a:ext cx="927100" cy="762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50000"/>
              </a:spcBef>
              <a:buClr>
                <a:schemeClr val="tx2"/>
              </a:buClr>
              <a:buSzPct val="70000"/>
              <a:buFontTx/>
              <a:buNone/>
            </a:pPr>
            <a:r>
              <a:rPr lang="en-US" altLang="en-US" sz="1400" b="1" dirty="0">
                <a:latin typeface="Arial" panose="020B0604020202020204" pitchFamily="34" charset="0"/>
              </a:rPr>
              <a:t>Signal Pulse</a:t>
            </a:r>
          </a:p>
          <a:p>
            <a:pPr>
              <a:lnSpc>
                <a:spcPct val="55000"/>
              </a:lnSpc>
              <a:spcBef>
                <a:spcPct val="50000"/>
              </a:spcBef>
              <a:buClr>
                <a:schemeClr val="tx2"/>
              </a:buClr>
              <a:buSzPct val="70000"/>
              <a:buNone/>
            </a:pPr>
            <a:r>
              <a:rPr lang="en-US" altLang="en-US" sz="1000" b="1" dirty="0">
                <a:latin typeface="Arial" panose="020B0604020202020204" pitchFamily="34" charset="0"/>
              </a:rPr>
              <a:t>(at speed</a:t>
            </a:r>
          </a:p>
          <a:p>
            <a:pPr>
              <a:lnSpc>
                <a:spcPct val="55000"/>
              </a:lnSpc>
              <a:spcBef>
                <a:spcPct val="50000"/>
              </a:spcBef>
              <a:buClr>
                <a:schemeClr val="tx2"/>
              </a:buClr>
              <a:buSzPct val="70000"/>
              <a:buNone/>
            </a:pPr>
            <a:r>
              <a:rPr lang="en-US" altLang="en-US" sz="1000" b="1" dirty="0">
                <a:latin typeface="Arial" panose="020B0604020202020204" pitchFamily="34" charset="0"/>
              </a:rPr>
              <a:t>of ultrasound)</a:t>
            </a:r>
          </a:p>
        </p:txBody>
      </p:sp>
      <p:sp>
        <p:nvSpPr>
          <p:cNvPr id="20" name="AutoShape 19">
            <a:extLst>
              <a:ext uri="{FF2B5EF4-FFF2-40B4-BE49-F238E27FC236}">
                <a16:creationId xmlns:a16="http://schemas.microsoft.com/office/drawing/2014/main" id="{36A622DA-C6D2-45AC-8350-EE0B9DDA1456}"/>
              </a:ext>
            </a:extLst>
          </p:cNvPr>
          <p:cNvSpPr>
            <a:spLocks noChangeArrowheads="1"/>
          </p:cNvSpPr>
          <p:nvPr/>
        </p:nvSpPr>
        <p:spPr bwMode="auto">
          <a:xfrm>
            <a:off x="7320171" y="2872661"/>
            <a:ext cx="152400" cy="1752600"/>
          </a:xfrm>
          <a:prstGeom prst="upArrow">
            <a:avLst>
              <a:gd name="adj1" fmla="val 50000"/>
              <a:gd name="adj2" fmla="val 287500"/>
            </a:avLst>
          </a:prstGeom>
          <a:solidFill>
            <a:srgbClr val="00B0F0"/>
          </a:solidFill>
          <a:ln w="9525">
            <a:solidFill>
              <a:schemeClr val="tx1"/>
            </a:solidFill>
            <a:miter lim="800000"/>
            <a:headEnd/>
            <a:tailEnd/>
          </a:ln>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Clr>
                <a:schemeClr val="tx2"/>
              </a:buClr>
              <a:buSzPct val="70000"/>
              <a:buFontTx/>
              <a:buChar char="•"/>
            </a:pPr>
            <a:endParaRPr lang="en-US" altLang="en-US" sz="1800">
              <a:solidFill>
                <a:srgbClr val="000000"/>
              </a:solidFill>
              <a:latin typeface="Arial" panose="020B0604020202020204" pitchFamily="34" charset="0"/>
            </a:endParaRPr>
          </a:p>
        </p:txBody>
      </p:sp>
      <p:sp>
        <p:nvSpPr>
          <p:cNvPr id="21" name="Oval 20">
            <a:extLst>
              <a:ext uri="{FF2B5EF4-FFF2-40B4-BE49-F238E27FC236}">
                <a16:creationId xmlns:a16="http://schemas.microsoft.com/office/drawing/2014/main" id="{CA9D2D25-D859-4D09-80EA-75511A5C0835}"/>
              </a:ext>
            </a:extLst>
          </p:cNvPr>
          <p:cNvSpPr/>
          <p:nvPr/>
        </p:nvSpPr>
        <p:spPr>
          <a:xfrm>
            <a:off x="7441694" y="2758706"/>
            <a:ext cx="1290192" cy="76200"/>
          </a:xfrm>
          <a:prstGeom prst="ellipse">
            <a:avLst/>
          </a:prstGeom>
          <a:gradFill flip="none" rotWithShape="1">
            <a:gsLst>
              <a:gs pos="0">
                <a:srgbClr val="FF0000"/>
              </a:gs>
              <a:gs pos="54000">
                <a:schemeClr val="accent1">
                  <a:tint val="44500"/>
                  <a:satMod val="160000"/>
                </a:schemeClr>
              </a:gs>
              <a:gs pos="100000">
                <a:schemeClr val="accent1">
                  <a:tint val="23500"/>
                  <a:satMod val="160000"/>
                </a:schemeClr>
              </a:gs>
            </a:gsLst>
            <a:path path="circle">
              <a:fillToRect l="50000" t="50000" r="50000" b="50000"/>
            </a:path>
            <a:tileRect/>
          </a:gradFill>
          <a:ln>
            <a:gradFill>
              <a:gsLst>
                <a:gs pos="0">
                  <a:srgbClr val="FF0000"/>
                </a:gs>
                <a:gs pos="50000">
                  <a:schemeClr val="accent1">
                    <a:tint val="44500"/>
                    <a:satMod val="160000"/>
                  </a:schemeClr>
                </a:gs>
                <a:gs pos="100000">
                  <a:schemeClr val="accent1">
                    <a:tint val="23500"/>
                    <a:satMod val="160000"/>
                  </a:schemeClr>
                </a:gs>
              </a:gsLst>
              <a:lin ang="5400000" scaled="0"/>
            </a:gradFill>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Bef>
                <a:spcPct val="50000"/>
              </a:spcBef>
              <a:buClr>
                <a:schemeClr val="tx2"/>
              </a:buClr>
              <a:buSzPct val="70000"/>
              <a:buFont typeface="Wingdings" panose="05000000000000000000" pitchFamily="2" charset="2"/>
              <a:buChar char="§"/>
              <a:defRPr/>
            </a:pPr>
            <a:endParaRPr lang="en-US" altLang="zh-CN">
              <a:solidFill>
                <a:srgbClr val="FFFFFF"/>
              </a:solidFill>
            </a:endParaRPr>
          </a:p>
        </p:txBody>
      </p:sp>
      <p:sp>
        <p:nvSpPr>
          <p:cNvPr id="22" name="Oval 21">
            <a:extLst>
              <a:ext uri="{FF2B5EF4-FFF2-40B4-BE49-F238E27FC236}">
                <a16:creationId xmlns:a16="http://schemas.microsoft.com/office/drawing/2014/main" id="{C34C6FAF-FF32-4FCF-A279-093A2A0342E1}"/>
              </a:ext>
            </a:extLst>
          </p:cNvPr>
          <p:cNvSpPr/>
          <p:nvPr/>
        </p:nvSpPr>
        <p:spPr>
          <a:xfrm>
            <a:off x="7441694" y="4758504"/>
            <a:ext cx="1290192" cy="76200"/>
          </a:xfrm>
          <a:prstGeom prst="ellipse">
            <a:avLst/>
          </a:prstGeom>
          <a:gradFill flip="none" rotWithShape="1">
            <a:gsLst>
              <a:gs pos="0">
                <a:srgbClr val="00B0F0"/>
              </a:gs>
              <a:gs pos="54000">
                <a:schemeClr val="accent1">
                  <a:tint val="44500"/>
                  <a:satMod val="160000"/>
                </a:schemeClr>
              </a:gs>
              <a:gs pos="100000">
                <a:schemeClr val="accent1">
                  <a:tint val="23500"/>
                  <a:satMod val="160000"/>
                </a:schemeClr>
              </a:gs>
            </a:gsLst>
            <a:path path="circle">
              <a:fillToRect l="50000" t="50000" r="50000" b="50000"/>
            </a:path>
            <a:tileRect/>
          </a:gradFill>
          <a:ln>
            <a:gradFill>
              <a:gsLst>
                <a:gs pos="0">
                  <a:srgbClr val="00B0F0"/>
                </a:gs>
                <a:gs pos="50000">
                  <a:schemeClr val="accent1">
                    <a:tint val="44500"/>
                    <a:satMod val="160000"/>
                  </a:schemeClr>
                </a:gs>
                <a:gs pos="100000">
                  <a:schemeClr val="accent1">
                    <a:tint val="23500"/>
                    <a:satMod val="160000"/>
                  </a:schemeClr>
                </a:gs>
              </a:gsLst>
              <a:lin ang="5400000" scaled="0"/>
            </a:gradFill>
          </a:ln>
          <a:effectLst>
            <a:glow rad="228600">
              <a:srgbClr val="00B0F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Bef>
                <a:spcPct val="50000"/>
              </a:spcBef>
              <a:buClr>
                <a:schemeClr val="tx2"/>
              </a:buClr>
              <a:buSzPct val="70000"/>
              <a:buFont typeface="Wingdings" panose="05000000000000000000" pitchFamily="2" charset="2"/>
              <a:buChar char="§"/>
              <a:defRPr/>
            </a:pPr>
            <a:endParaRPr lang="en-US" altLang="zh-CN">
              <a:solidFill>
                <a:srgbClr val="FFFFFF"/>
              </a:solidFill>
            </a:endParaRPr>
          </a:p>
        </p:txBody>
      </p:sp>
      <p:sp>
        <p:nvSpPr>
          <p:cNvPr id="23" name="Oval 22">
            <a:extLst>
              <a:ext uri="{FF2B5EF4-FFF2-40B4-BE49-F238E27FC236}">
                <a16:creationId xmlns:a16="http://schemas.microsoft.com/office/drawing/2014/main" id="{22CEAA5F-FE3B-43B6-8AF2-0F2B7B947595}"/>
              </a:ext>
            </a:extLst>
          </p:cNvPr>
          <p:cNvSpPr/>
          <p:nvPr/>
        </p:nvSpPr>
        <p:spPr>
          <a:xfrm>
            <a:off x="7441694" y="2782517"/>
            <a:ext cx="1290192" cy="76200"/>
          </a:xfrm>
          <a:prstGeom prst="ellipse">
            <a:avLst/>
          </a:prstGeom>
          <a:gradFill flip="none" rotWithShape="1">
            <a:gsLst>
              <a:gs pos="0">
                <a:srgbClr val="FF0000"/>
              </a:gs>
              <a:gs pos="54000">
                <a:schemeClr val="accent1">
                  <a:tint val="44500"/>
                  <a:satMod val="160000"/>
                </a:schemeClr>
              </a:gs>
              <a:gs pos="100000">
                <a:schemeClr val="accent1">
                  <a:tint val="23500"/>
                  <a:satMod val="160000"/>
                </a:schemeClr>
              </a:gs>
            </a:gsLst>
            <a:path path="circle">
              <a:fillToRect l="50000" t="50000" r="50000" b="50000"/>
            </a:path>
            <a:tileRect/>
          </a:gradFill>
          <a:ln>
            <a:gradFill>
              <a:gsLst>
                <a:gs pos="0">
                  <a:srgbClr val="FF0000"/>
                </a:gs>
                <a:gs pos="50000">
                  <a:schemeClr val="accent1">
                    <a:tint val="44500"/>
                    <a:satMod val="160000"/>
                  </a:schemeClr>
                </a:gs>
                <a:gs pos="100000">
                  <a:schemeClr val="accent1">
                    <a:tint val="23500"/>
                    <a:satMod val="160000"/>
                  </a:schemeClr>
                </a:gs>
              </a:gsLst>
              <a:lin ang="5400000" scaled="0"/>
            </a:gradFill>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Bef>
                <a:spcPct val="50000"/>
              </a:spcBef>
              <a:buClr>
                <a:schemeClr val="tx2"/>
              </a:buClr>
              <a:buSzPct val="70000"/>
              <a:buFont typeface="Wingdings" panose="05000000000000000000" pitchFamily="2" charset="2"/>
              <a:buChar char="§"/>
              <a:defRPr/>
            </a:pPr>
            <a:endParaRPr lang="en-US" altLang="zh-CN">
              <a:solidFill>
                <a:srgbClr val="FFFFFF"/>
              </a:solidFill>
            </a:endParaRPr>
          </a:p>
        </p:txBody>
      </p:sp>
      <p:sp>
        <p:nvSpPr>
          <p:cNvPr id="24" name="Oval 23">
            <a:extLst>
              <a:ext uri="{FF2B5EF4-FFF2-40B4-BE49-F238E27FC236}">
                <a16:creationId xmlns:a16="http://schemas.microsoft.com/office/drawing/2014/main" id="{34FE9A99-1038-4BA7-A662-F50E1541297A}"/>
              </a:ext>
            </a:extLst>
          </p:cNvPr>
          <p:cNvSpPr/>
          <p:nvPr/>
        </p:nvSpPr>
        <p:spPr>
          <a:xfrm>
            <a:off x="7441694" y="2782517"/>
            <a:ext cx="1290192" cy="76200"/>
          </a:xfrm>
          <a:prstGeom prst="ellipse">
            <a:avLst/>
          </a:prstGeom>
          <a:gradFill flip="none" rotWithShape="1">
            <a:gsLst>
              <a:gs pos="0">
                <a:srgbClr val="FF0000"/>
              </a:gs>
              <a:gs pos="54000">
                <a:schemeClr val="accent1">
                  <a:tint val="44500"/>
                  <a:satMod val="160000"/>
                </a:schemeClr>
              </a:gs>
              <a:gs pos="100000">
                <a:schemeClr val="accent1">
                  <a:tint val="23500"/>
                  <a:satMod val="160000"/>
                </a:schemeClr>
              </a:gs>
            </a:gsLst>
            <a:path path="circle">
              <a:fillToRect l="50000" t="50000" r="50000" b="50000"/>
            </a:path>
            <a:tileRect/>
          </a:gradFill>
          <a:ln>
            <a:gradFill>
              <a:gsLst>
                <a:gs pos="0">
                  <a:srgbClr val="FF0000"/>
                </a:gs>
                <a:gs pos="50000">
                  <a:schemeClr val="accent1">
                    <a:tint val="44500"/>
                    <a:satMod val="160000"/>
                  </a:schemeClr>
                </a:gs>
                <a:gs pos="100000">
                  <a:schemeClr val="accent1">
                    <a:tint val="23500"/>
                    <a:satMod val="160000"/>
                  </a:schemeClr>
                </a:gs>
              </a:gsLst>
              <a:lin ang="5400000" scaled="0"/>
            </a:gradFill>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Bef>
                <a:spcPct val="50000"/>
              </a:spcBef>
              <a:buClr>
                <a:schemeClr val="tx2"/>
              </a:buClr>
              <a:buSzPct val="70000"/>
              <a:buFont typeface="Wingdings" panose="05000000000000000000" pitchFamily="2" charset="2"/>
              <a:buChar char="§"/>
              <a:defRPr/>
            </a:pPr>
            <a:endParaRPr lang="en-US" altLang="zh-CN">
              <a:solidFill>
                <a:srgbClr val="FFFFFF"/>
              </a:solidFill>
            </a:endParaRPr>
          </a:p>
        </p:txBody>
      </p:sp>
      <p:sp>
        <p:nvSpPr>
          <p:cNvPr id="25" name="Oval 24">
            <a:extLst>
              <a:ext uri="{FF2B5EF4-FFF2-40B4-BE49-F238E27FC236}">
                <a16:creationId xmlns:a16="http://schemas.microsoft.com/office/drawing/2014/main" id="{50691B46-B75F-43CB-BC5B-973746D60599}"/>
              </a:ext>
            </a:extLst>
          </p:cNvPr>
          <p:cNvSpPr/>
          <p:nvPr/>
        </p:nvSpPr>
        <p:spPr>
          <a:xfrm>
            <a:off x="7441694" y="2782517"/>
            <a:ext cx="1290192" cy="76200"/>
          </a:xfrm>
          <a:prstGeom prst="ellipse">
            <a:avLst/>
          </a:prstGeom>
          <a:gradFill flip="none" rotWithShape="1">
            <a:gsLst>
              <a:gs pos="0">
                <a:srgbClr val="FF0000"/>
              </a:gs>
              <a:gs pos="54000">
                <a:schemeClr val="accent1">
                  <a:tint val="44500"/>
                  <a:satMod val="160000"/>
                </a:schemeClr>
              </a:gs>
              <a:gs pos="100000">
                <a:schemeClr val="accent1">
                  <a:tint val="23500"/>
                  <a:satMod val="160000"/>
                </a:schemeClr>
              </a:gs>
            </a:gsLst>
            <a:path path="circle">
              <a:fillToRect l="50000" t="50000" r="50000" b="50000"/>
            </a:path>
            <a:tileRect/>
          </a:gradFill>
          <a:ln>
            <a:gradFill>
              <a:gsLst>
                <a:gs pos="0">
                  <a:srgbClr val="FF0000"/>
                </a:gs>
                <a:gs pos="50000">
                  <a:schemeClr val="accent1">
                    <a:tint val="44500"/>
                    <a:satMod val="160000"/>
                  </a:schemeClr>
                </a:gs>
                <a:gs pos="100000">
                  <a:schemeClr val="accent1">
                    <a:tint val="23500"/>
                    <a:satMod val="160000"/>
                  </a:schemeClr>
                </a:gs>
              </a:gsLst>
              <a:lin ang="5400000" scaled="0"/>
            </a:gradFill>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Bef>
                <a:spcPct val="50000"/>
              </a:spcBef>
              <a:buClr>
                <a:schemeClr val="tx2"/>
              </a:buClr>
              <a:buSzPct val="70000"/>
              <a:buFont typeface="Wingdings" panose="05000000000000000000" pitchFamily="2" charset="2"/>
              <a:buChar char="§"/>
              <a:defRPr/>
            </a:pPr>
            <a:endParaRPr lang="en-US" altLang="zh-CN">
              <a:solidFill>
                <a:srgbClr val="FFFFFF"/>
              </a:solidFill>
            </a:endParaRPr>
          </a:p>
        </p:txBody>
      </p:sp>
      <p:sp>
        <p:nvSpPr>
          <p:cNvPr id="27" name="Oval 26">
            <a:extLst>
              <a:ext uri="{FF2B5EF4-FFF2-40B4-BE49-F238E27FC236}">
                <a16:creationId xmlns:a16="http://schemas.microsoft.com/office/drawing/2014/main" id="{13888C8D-0CC9-4738-9B09-CB1774CBF222}"/>
              </a:ext>
            </a:extLst>
          </p:cNvPr>
          <p:cNvSpPr/>
          <p:nvPr/>
        </p:nvSpPr>
        <p:spPr>
          <a:xfrm>
            <a:off x="7441694" y="4763717"/>
            <a:ext cx="1290192" cy="76200"/>
          </a:xfrm>
          <a:prstGeom prst="ellipse">
            <a:avLst/>
          </a:prstGeom>
          <a:gradFill flip="none" rotWithShape="1">
            <a:gsLst>
              <a:gs pos="0">
                <a:srgbClr val="00B0F0"/>
              </a:gs>
              <a:gs pos="54000">
                <a:schemeClr val="accent1">
                  <a:tint val="44500"/>
                  <a:satMod val="160000"/>
                </a:schemeClr>
              </a:gs>
              <a:gs pos="100000">
                <a:schemeClr val="accent1">
                  <a:tint val="23500"/>
                  <a:satMod val="160000"/>
                </a:schemeClr>
              </a:gs>
            </a:gsLst>
            <a:path path="circle">
              <a:fillToRect l="50000" t="50000" r="50000" b="50000"/>
            </a:path>
            <a:tileRect/>
          </a:gradFill>
          <a:ln>
            <a:gradFill>
              <a:gsLst>
                <a:gs pos="0">
                  <a:srgbClr val="00B0F0"/>
                </a:gs>
                <a:gs pos="50000">
                  <a:schemeClr val="accent1">
                    <a:tint val="44500"/>
                    <a:satMod val="160000"/>
                  </a:schemeClr>
                </a:gs>
                <a:gs pos="100000">
                  <a:schemeClr val="accent1">
                    <a:tint val="23500"/>
                    <a:satMod val="160000"/>
                  </a:schemeClr>
                </a:gs>
              </a:gsLst>
              <a:lin ang="5400000" scaled="0"/>
            </a:gradFill>
          </a:ln>
          <a:effectLst>
            <a:glow rad="228600">
              <a:srgbClr val="00B0F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Bef>
                <a:spcPct val="50000"/>
              </a:spcBef>
              <a:buClr>
                <a:schemeClr val="tx2"/>
              </a:buClr>
              <a:buSzPct val="70000"/>
              <a:buFont typeface="Wingdings" panose="05000000000000000000" pitchFamily="2" charset="2"/>
              <a:buChar char="§"/>
              <a:defRPr/>
            </a:pPr>
            <a:endParaRPr lang="en-US" altLang="zh-CN">
              <a:solidFill>
                <a:srgbClr val="FFFFFF"/>
              </a:solidFill>
            </a:endParaRPr>
          </a:p>
        </p:txBody>
      </p:sp>
      <p:sp>
        <p:nvSpPr>
          <p:cNvPr id="28" name="Oval 27">
            <a:extLst>
              <a:ext uri="{FF2B5EF4-FFF2-40B4-BE49-F238E27FC236}">
                <a16:creationId xmlns:a16="http://schemas.microsoft.com/office/drawing/2014/main" id="{C38C99FD-8051-4484-8818-AFCDD3E1E120}"/>
              </a:ext>
            </a:extLst>
          </p:cNvPr>
          <p:cNvSpPr/>
          <p:nvPr/>
        </p:nvSpPr>
        <p:spPr>
          <a:xfrm>
            <a:off x="7441694" y="4763717"/>
            <a:ext cx="1290192" cy="76200"/>
          </a:xfrm>
          <a:prstGeom prst="ellipse">
            <a:avLst/>
          </a:prstGeom>
          <a:gradFill flip="none" rotWithShape="1">
            <a:gsLst>
              <a:gs pos="0">
                <a:srgbClr val="00B0F0"/>
              </a:gs>
              <a:gs pos="54000">
                <a:schemeClr val="accent1">
                  <a:tint val="44500"/>
                  <a:satMod val="160000"/>
                </a:schemeClr>
              </a:gs>
              <a:gs pos="100000">
                <a:schemeClr val="accent1">
                  <a:tint val="23500"/>
                  <a:satMod val="160000"/>
                </a:schemeClr>
              </a:gs>
            </a:gsLst>
            <a:path path="circle">
              <a:fillToRect l="50000" t="50000" r="50000" b="50000"/>
            </a:path>
            <a:tileRect/>
          </a:gradFill>
          <a:ln>
            <a:gradFill>
              <a:gsLst>
                <a:gs pos="0">
                  <a:srgbClr val="00B0F0"/>
                </a:gs>
                <a:gs pos="50000">
                  <a:schemeClr val="accent1">
                    <a:tint val="44500"/>
                    <a:satMod val="160000"/>
                  </a:schemeClr>
                </a:gs>
                <a:gs pos="100000">
                  <a:schemeClr val="accent1">
                    <a:tint val="23500"/>
                    <a:satMod val="160000"/>
                  </a:schemeClr>
                </a:gs>
              </a:gsLst>
              <a:lin ang="5400000" scaled="0"/>
            </a:gradFill>
          </a:ln>
          <a:effectLst>
            <a:glow rad="228600">
              <a:srgbClr val="00B0F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Bef>
                <a:spcPct val="50000"/>
              </a:spcBef>
              <a:buClr>
                <a:schemeClr val="tx2"/>
              </a:buClr>
              <a:buSzPct val="70000"/>
              <a:buFont typeface="Wingdings" panose="05000000000000000000" pitchFamily="2" charset="2"/>
              <a:buChar char="§"/>
              <a:defRPr/>
            </a:pPr>
            <a:endParaRPr lang="en-US" altLang="zh-CN">
              <a:solidFill>
                <a:srgbClr val="FFFFFF"/>
              </a:solidFill>
            </a:endParaRPr>
          </a:p>
        </p:txBody>
      </p:sp>
      <p:sp>
        <p:nvSpPr>
          <p:cNvPr id="29" name="Oval 28">
            <a:extLst>
              <a:ext uri="{FF2B5EF4-FFF2-40B4-BE49-F238E27FC236}">
                <a16:creationId xmlns:a16="http://schemas.microsoft.com/office/drawing/2014/main" id="{4CAFBF87-450D-4ED0-8666-9D301D38437E}"/>
              </a:ext>
            </a:extLst>
          </p:cNvPr>
          <p:cNvSpPr/>
          <p:nvPr/>
        </p:nvSpPr>
        <p:spPr>
          <a:xfrm>
            <a:off x="7441694" y="4763717"/>
            <a:ext cx="1290192" cy="76200"/>
          </a:xfrm>
          <a:prstGeom prst="ellipse">
            <a:avLst/>
          </a:prstGeom>
          <a:gradFill flip="none" rotWithShape="1">
            <a:gsLst>
              <a:gs pos="0">
                <a:srgbClr val="00B0F0"/>
              </a:gs>
              <a:gs pos="54000">
                <a:schemeClr val="accent1">
                  <a:tint val="44500"/>
                  <a:satMod val="160000"/>
                </a:schemeClr>
              </a:gs>
              <a:gs pos="100000">
                <a:schemeClr val="accent1">
                  <a:tint val="23500"/>
                  <a:satMod val="160000"/>
                </a:schemeClr>
              </a:gs>
            </a:gsLst>
            <a:path path="circle">
              <a:fillToRect l="50000" t="50000" r="50000" b="50000"/>
            </a:path>
            <a:tileRect/>
          </a:gradFill>
          <a:ln>
            <a:gradFill>
              <a:gsLst>
                <a:gs pos="0">
                  <a:srgbClr val="00B0F0"/>
                </a:gs>
                <a:gs pos="50000">
                  <a:schemeClr val="accent1">
                    <a:tint val="44500"/>
                    <a:satMod val="160000"/>
                  </a:schemeClr>
                </a:gs>
                <a:gs pos="100000">
                  <a:schemeClr val="accent1">
                    <a:tint val="23500"/>
                    <a:satMod val="160000"/>
                  </a:schemeClr>
                </a:gs>
              </a:gsLst>
              <a:lin ang="5400000" scaled="0"/>
            </a:gradFill>
          </a:ln>
          <a:effectLst>
            <a:glow rad="228600">
              <a:srgbClr val="00B0F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Bef>
                <a:spcPct val="50000"/>
              </a:spcBef>
              <a:buClr>
                <a:schemeClr val="tx2"/>
              </a:buClr>
              <a:buSzPct val="70000"/>
              <a:buFont typeface="Wingdings" panose="05000000000000000000" pitchFamily="2" charset="2"/>
              <a:buChar char="§"/>
              <a:defRPr/>
            </a:pPr>
            <a:endParaRPr lang="en-US" altLang="zh-CN">
              <a:solidFill>
                <a:srgbClr val="FFFFFF"/>
              </a:solidFill>
            </a:endParaRPr>
          </a:p>
        </p:txBody>
      </p:sp>
      <p:sp>
        <p:nvSpPr>
          <p:cNvPr id="30" name="Oval 29">
            <a:extLst>
              <a:ext uri="{FF2B5EF4-FFF2-40B4-BE49-F238E27FC236}">
                <a16:creationId xmlns:a16="http://schemas.microsoft.com/office/drawing/2014/main" id="{F8C02F5B-0320-41E0-B9C4-7454F2DE7281}"/>
              </a:ext>
            </a:extLst>
          </p:cNvPr>
          <p:cNvSpPr/>
          <p:nvPr/>
        </p:nvSpPr>
        <p:spPr>
          <a:xfrm>
            <a:off x="7441694" y="4763717"/>
            <a:ext cx="1290192" cy="76200"/>
          </a:xfrm>
          <a:prstGeom prst="ellipse">
            <a:avLst/>
          </a:prstGeom>
          <a:gradFill flip="none" rotWithShape="1">
            <a:gsLst>
              <a:gs pos="0">
                <a:srgbClr val="00B0F0"/>
              </a:gs>
              <a:gs pos="54000">
                <a:schemeClr val="accent1">
                  <a:tint val="44500"/>
                  <a:satMod val="160000"/>
                </a:schemeClr>
              </a:gs>
              <a:gs pos="100000">
                <a:schemeClr val="accent1">
                  <a:tint val="23500"/>
                  <a:satMod val="160000"/>
                </a:schemeClr>
              </a:gs>
            </a:gsLst>
            <a:path path="circle">
              <a:fillToRect l="50000" t="50000" r="50000" b="50000"/>
            </a:path>
            <a:tileRect/>
          </a:gradFill>
          <a:ln>
            <a:gradFill>
              <a:gsLst>
                <a:gs pos="0">
                  <a:srgbClr val="00B0F0"/>
                </a:gs>
                <a:gs pos="50000">
                  <a:schemeClr val="accent1">
                    <a:tint val="44500"/>
                    <a:satMod val="160000"/>
                  </a:schemeClr>
                </a:gs>
                <a:gs pos="100000">
                  <a:schemeClr val="accent1">
                    <a:tint val="23500"/>
                    <a:satMod val="160000"/>
                  </a:schemeClr>
                </a:gs>
              </a:gsLst>
              <a:lin ang="5400000" scaled="0"/>
            </a:gradFill>
          </a:ln>
          <a:effectLst>
            <a:glow rad="228600">
              <a:srgbClr val="00B0F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Bef>
                <a:spcPct val="50000"/>
              </a:spcBef>
              <a:buClr>
                <a:schemeClr val="tx2"/>
              </a:buClr>
              <a:buSzPct val="70000"/>
              <a:buFont typeface="Wingdings" panose="05000000000000000000" pitchFamily="2" charset="2"/>
              <a:buChar char="§"/>
              <a:defRPr/>
            </a:pPr>
            <a:endParaRPr lang="en-US" altLang="zh-CN">
              <a:solidFill>
                <a:srgbClr val="FFFFFF"/>
              </a:solidFill>
            </a:endParaRPr>
          </a:p>
        </p:txBody>
      </p:sp>
      <p:grpSp>
        <p:nvGrpSpPr>
          <p:cNvPr id="118" name="Group 176">
            <a:extLst>
              <a:ext uri="{FF2B5EF4-FFF2-40B4-BE49-F238E27FC236}">
                <a16:creationId xmlns:a16="http://schemas.microsoft.com/office/drawing/2014/main" id="{19475E03-4C32-4096-9A26-2AD6FC2D7616}"/>
              </a:ext>
            </a:extLst>
          </p:cNvPr>
          <p:cNvGrpSpPr>
            <a:grpSpLocks/>
          </p:cNvGrpSpPr>
          <p:nvPr/>
        </p:nvGrpSpPr>
        <p:grpSpPr bwMode="auto">
          <a:xfrm>
            <a:off x="984684" y="3407459"/>
            <a:ext cx="3314700" cy="2052638"/>
            <a:chOff x="263" y="3280"/>
            <a:chExt cx="2298" cy="1465"/>
          </a:xfrm>
        </p:grpSpPr>
        <p:grpSp>
          <p:nvGrpSpPr>
            <p:cNvPr id="119" name="Group 177">
              <a:extLst>
                <a:ext uri="{FF2B5EF4-FFF2-40B4-BE49-F238E27FC236}">
                  <a16:creationId xmlns:a16="http://schemas.microsoft.com/office/drawing/2014/main" id="{DB213A6D-2CAF-44BF-AA27-6A1D27CADC54}"/>
                </a:ext>
              </a:extLst>
            </p:cNvPr>
            <p:cNvGrpSpPr>
              <a:grpSpLocks/>
            </p:cNvGrpSpPr>
            <p:nvPr/>
          </p:nvGrpSpPr>
          <p:grpSpPr bwMode="auto">
            <a:xfrm>
              <a:off x="1933" y="3280"/>
              <a:ext cx="571" cy="781"/>
              <a:chOff x="-1536" y="525"/>
              <a:chExt cx="521" cy="688"/>
            </a:xfrm>
          </p:grpSpPr>
          <p:sp>
            <p:nvSpPr>
              <p:cNvPr id="124" name="Oval 178">
                <a:extLst>
                  <a:ext uri="{FF2B5EF4-FFF2-40B4-BE49-F238E27FC236}">
                    <a16:creationId xmlns:a16="http://schemas.microsoft.com/office/drawing/2014/main" id="{F8B8C906-0193-4F5F-A399-210C67DFF77D}"/>
                  </a:ext>
                </a:extLst>
              </p:cNvPr>
              <p:cNvSpPr>
                <a:spLocks noChangeArrowheads="1"/>
              </p:cNvSpPr>
              <p:nvPr/>
            </p:nvSpPr>
            <p:spPr bwMode="auto">
              <a:xfrm>
                <a:off x="-1536" y="720"/>
                <a:ext cx="521" cy="493"/>
              </a:xfrm>
              <a:prstGeom prst="ellipse">
                <a:avLst/>
              </a:prstGeom>
              <a:solidFill>
                <a:srgbClr val="C0C0C0"/>
              </a:solidFill>
              <a:ln w="9525">
                <a:solidFill>
                  <a:srgbClr val="000000"/>
                </a:solidFill>
                <a:round/>
                <a:headEnd/>
                <a:tailEnd/>
              </a:ln>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sp>
            <p:nvSpPr>
              <p:cNvPr id="125" name="Arc 179">
                <a:extLst>
                  <a:ext uri="{FF2B5EF4-FFF2-40B4-BE49-F238E27FC236}">
                    <a16:creationId xmlns:a16="http://schemas.microsoft.com/office/drawing/2014/main" id="{403A3CB7-0D64-469D-ACB7-05D8EF23FCA1}"/>
                  </a:ext>
                </a:extLst>
              </p:cNvPr>
              <p:cNvSpPr>
                <a:spLocks/>
              </p:cNvSpPr>
              <p:nvPr/>
            </p:nvSpPr>
            <p:spPr bwMode="auto">
              <a:xfrm>
                <a:off x="-1536" y="816"/>
                <a:ext cx="310" cy="363"/>
              </a:xfrm>
              <a:custGeom>
                <a:avLst/>
                <a:gdLst>
                  <a:gd name="G0" fmla="+- 21600 0 0"/>
                  <a:gd name="G1" fmla="+- 10188 0 0"/>
                  <a:gd name="G2" fmla="+- 21600 0 0"/>
                  <a:gd name="T0" fmla="*/ 25738 w 25738"/>
                  <a:gd name="T1" fmla="*/ 31388 h 31788"/>
                  <a:gd name="T2" fmla="*/ 2554 w 25738"/>
                  <a:gd name="T3" fmla="*/ 0 h 31788"/>
                  <a:gd name="T4" fmla="*/ 21600 w 25738"/>
                  <a:gd name="T5" fmla="*/ 10188 h 31788"/>
                </a:gdLst>
                <a:ahLst/>
                <a:cxnLst>
                  <a:cxn ang="0">
                    <a:pos x="T0" y="T1"/>
                  </a:cxn>
                  <a:cxn ang="0">
                    <a:pos x="T2" y="T3"/>
                  </a:cxn>
                  <a:cxn ang="0">
                    <a:pos x="T4" y="T5"/>
                  </a:cxn>
                </a:cxnLst>
                <a:rect l="0" t="0" r="r" b="b"/>
                <a:pathLst>
                  <a:path w="25738" h="31788" fill="none" extrusionOk="0">
                    <a:moveTo>
                      <a:pt x="25737" y="31387"/>
                    </a:moveTo>
                    <a:cubicBezTo>
                      <a:pt x="24374" y="31654"/>
                      <a:pt x="22988" y="31787"/>
                      <a:pt x="21600" y="31788"/>
                    </a:cubicBezTo>
                    <a:cubicBezTo>
                      <a:pt x="9670" y="31788"/>
                      <a:pt x="0" y="22117"/>
                      <a:pt x="0" y="10188"/>
                    </a:cubicBezTo>
                    <a:cubicBezTo>
                      <a:pt x="-1" y="6633"/>
                      <a:pt x="877" y="3134"/>
                      <a:pt x="2553" y="-1"/>
                    </a:cubicBezTo>
                  </a:path>
                  <a:path w="25738" h="31788" stroke="0" extrusionOk="0">
                    <a:moveTo>
                      <a:pt x="25737" y="31387"/>
                    </a:moveTo>
                    <a:cubicBezTo>
                      <a:pt x="24374" y="31654"/>
                      <a:pt x="22988" y="31787"/>
                      <a:pt x="21600" y="31788"/>
                    </a:cubicBezTo>
                    <a:cubicBezTo>
                      <a:pt x="9670" y="31788"/>
                      <a:pt x="0" y="22117"/>
                      <a:pt x="0" y="10188"/>
                    </a:cubicBezTo>
                    <a:cubicBezTo>
                      <a:pt x="-1" y="6633"/>
                      <a:pt x="877" y="3134"/>
                      <a:pt x="2553" y="-1"/>
                    </a:cubicBezTo>
                    <a:lnTo>
                      <a:pt x="21600" y="10188"/>
                    </a:lnTo>
                    <a:close/>
                  </a:path>
                </a:pathLst>
              </a:custGeom>
              <a:solidFill>
                <a:srgbClr val="9F9F9F"/>
              </a:solid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26" name="Arc 180">
                <a:extLst>
                  <a:ext uri="{FF2B5EF4-FFF2-40B4-BE49-F238E27FC236}">
                    <a16:creationId xmlns:a16="http://schemas.microsoft.com/office/drawing/2014/main" id="{4668853F-CE11-447D-9DAD-96819C18E7E1}"/>
                  </a:ext>
                </a:extLst>
              </p:cNvPr>
              <p:cNvSpPr>
                <a:spLocks/>
              </p:cNvSpPr>
              <p:nvPr/>
            </p:nvSpPr>
            <p:spPr bwMode="auto">
              <a:xfrm>
                <a:off x="-1360" y="720"/>
                <a:ext cx="310" cy="493"/>
              </a:xfrm>
              <a:custGeom>
                <a:avLst/>
                <a:gdLst>
                  <a:gd name="G0" fmla="+- 4138 0 0"/>
                  <a:gd name="G1" fmla="+- 21600 0 0"/>
                  <a:gd name="G2" fmla="+- 21600 0 0"/>
                  <a:gd name="T0" fmla="*/ 4138 w 25738"/>
                  <a:gd name="T1" fmla="*/ 0 h 43200"/>
                  <a:gd name="T2" fmla="*/ 0 w 25738"/>
                  <a:gd name="T3" fmla="*/ 42800 h 43200"/>
                  <a:gd name="T4" fmla="*/ 4138 w 25738"/>
                  <a:gd name="T5" fmla="*/ 21600 h 43200"/>
                </a:gdLst>
                <a:ahLst/>
                <a:cxnLst>
                  <a:cxn ang="0">
                    <a:pos x="T0" y="T1"/>
                  </a:cxn>
                  <a:cxn ang="0">
                    <a:pos x="T2" y="T3"/>
                  </a:cxn>
                  <a:cxn ang="0">
                    <a:pos x="T4" y="T5"/>
                  </a:cxn>
                </a:cxnLst>
                <a:rect l="0" t="0" r="r" b="b"/>
                <a:pathLst>
                  <a:path w="25738" h="43200" fill="none" extrusionOk="0">
                    <a:moveTo>
                      <a:pt x="4137" y="0"/>
                    </a:moveTo>
                    <a:cubicBezTo>
                      <a:pt x="16067" y="0"/>
                      <a:pt x="25738" y="9670"/>
                      <a:pt x="25738" y="21600"/>
                    </a:cubicBezTo>
                    <a:cubicBezTo>
                      <a:pt x="25738" y="33529"/>
                      <a:pt x="16067" y="43200"/>
                      <a:pt x="4138" y="43200"/>
                    </a:cubicBezTo>
                    <a:cubicBezTo>
                      <a:pt x="2749" y="43200"/>
                      <a:pt x="1363" y="43066"/>
                      <a:pt x="0" y="42799"/>
                    </a:cubicBezTo>
                  </a:path>
                  <a:path w="25738" h="43200" stroke="0" extrusionOk="0">
                    <a:moveTo>
                      <a:pt x="4137" y="0"/>
                    </a:moveTo>
                    <a:cubicBezTo>
                      <a:pt x="16067" y="0"/>
                      <a:pt x="25738" y="9670"/>
                      <a:pt x="25738" y="21600"/>
                    </a:cubicBezTo>
                    <a:cubicBezTo>
                      <a:pt x="25738" y="33529"/>
                      <a:pt x="16067" y="43200"/>
                      <a:pt x="4138" y="43200"/>
                    </a:cubicBezTo>
                    <a:cubicBezTo>
                      <a:pt x="2749" y="43200"/>
                      <a:pt x="1363" y="43066"/>
                      <a:pt x="0" y="42799"/>
                    </a:cubicBezTo>
                    <a:lnTo>
                      <a:pt x="4138" y="21600"/>
                    </a:lnTo>
                    <a:close/>
                  </a:path>
                </a:pathLst>
              </a:custGeom>
              <a:solidFill>
                <a:srgbClr val="7F7F7F"/>
              </a:solid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27" name="Oval 181">
                <a:extLst>
                  <a:ext uri="{FF2B5EF4-FFF2-40B4-BE49-F238E27FC236}">
                    <a16:creationId xmlns:a16="http://schemas.microsoft.com/office/drawing/2014/main" id="{82AE05EF-0D88-45BB-AD76-B5B49F8F9119}"/>
                  </a:ext>
                </a:extLst>
              </p:cNvPr>
              <p:cNvSpPr>
                <a:spLocks noChangeArrowheads="1"/>
              </p:cNvSpPr>
              <p:nvPr/>
            </p:nvSpPr>
            <p:spPr bwMode="auto">
              <a:xfrm>
                <a:off x="-1387" y="1162"/>
                <a:ext cx="63" cy="41"/>
              </a:xfrm>
              <a:prstGeom prst="ellipse">
                <a:avLst/>
              </a:prstGeom>
              <a:solidFill>
                <a:srgbClr val="9F9F9F"/>
              </a:solidFill>
              <a:ln w="9525">
                <a:solidFill>
                  <a:srgbClr val="000000"/>
                </a:solidFill>
                <a:round/>
                <a:headEnd/>
                <a:tailEnd/>
              </a:ln>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sp>
            <p:nvSpPr>
              <p:cNvPr id="128" name="Oval 182">
                <a:extLst>
                  <a:ext uri="{FF2B5EF4-FFF2-40B4-BE49-F238E27FC236}">
                    <a16:creationId xmlns:a16="http://schemas.microsoft.com/office/drawing/2014/main" id="{F86F2F76-70A7-46A3-9ABA-7B888D6B9852}"/>
                  </a:ext>
                </a:extLst>
              </p:cNvPr>
              <p:cNvSpPr>
                <a:spLocks noChangeArrowheads="1"/>
              </p:cNvSpPr>
              <p:nvPr/>
            </p:nvSpPr>
            <p:spPr bwMode="auto">
              <a:xfrm>
                <a:off x="-1197" y="753"/>
                <a:ext cx="64" cy="79"/>
              </a:xfrm>
              <a:prstGeom prst="ellipse">
                <a:avLst/>
              </a:prstGeom>
              <a:solidFill>
                <a:srgbClr val="3F3F3F"/>
              </a:solidFill>
              <a:ln w="9525">
                <a:solidFill>
                  <a:srgbClr val="000000"/>
                </a:solidFill>
                <a:round/>
                <a:headEnd/>
                <a:tailEnd/>
              </a:ln>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sp>
            <p:nvSpPr>
              <p:cNvPr id="129" name="Oval 183">
                <a:extLst>
                  <a:ext uri="{FF2B5EF4-FFF2-40B4-BE49-F238E27FC236}">
                    <a16:creationId xmlns:a16="http://schemas.microsoft.com/office/drawing/2014/main" id="{24711963-80A4-467C-A909-55C7BF818812}"/>
                  </a:ext>
                </a:extLst>
              </p:cNvPr>
              <p:cNvSpPr>
                <a:spLocks noChangeArrowheads="1"/>
              </p:cNvSpPr>
              <p:nvPr/>
            </p:nvSpPr>
            <p:spPr bwMode="auto">
              <a:xfrm>
                <a:off x="-1294" y="720"/>
                <a:ext cx="89" cy="79"/>
              </a:xfrm>
              <a:prstGeom prst="ellipse">
                <a:avLst/>
              </a:prstGeom>
              <a:solidFill>
                <a:srgbClr val="3F3F3F"/>
              </a:solidFill>
              <a:ln w="9525">
                <a:solidFill>
                  <a:srgbClr val="000000"/>
                </a:solidFill>
                <a:round/>
                <a:headEnd/>
                <a:tailEnd/>
              </a:ln>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sp>
            <p:nvSpPr>
              <p:cNvPr id="130" name="Oval 184">
                <a:extLst>
                  <a:ext uri="{FF2B5EF4-FFF2-40B4-BE49-F238E27FC236}">
                    <a16:creationId xmlns:a16="http://schemas.microsoft.com/office/drawing/2014/main" id="{8FDE1111-02D4-4431-833B-DB40A07230A7}"/>
                  </a:ext>
                </a:extLst>
              </p:cNvPr>
              <p:cNvSpPr>
                <a:spLocks noChangeArrowheads="1"/>
              </p:cNvSpPr>
              <p:nvPr/>
            </p:nvSpPr>
            <p:spPr bwMode="auto">
              <a:xfrm>
                <a:off x="-1512" y="809"/>
                <a:ext cx="47" cy="66"/>
              </a:xfrm>
              <a:prstGeom prst="ellipse">
                <a:avLst/>
              </a:prstGeom>
              <a:solidFill>
                <a:srgbClr val="C0C0C0"/>
              </a:solidFill>
              <a:ln w="9525">
                <a:solidFill>
                  <a:srgbClr val="000000"/>
                </a:solidFill>
                <a:round/>
                <a:headEnd/>
                <a:tailEnd/>
              </a:ln>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sp>
            <p:nvSpPr>
              <p:cNvPr id="131" name="Oval 185">
                <a:extLst>
                  <a:ext uri="{FF2B5EF4-FFF2-40B4-BE49-F238E27FC236}">
                    <a16:creationId xmlns:a16="http://schemas.microsoft.com/office/drawing/2014/main" id="{110D832D-1F0A-419F-B39A-8BF606F714DE}"/>
                  </a:ext>
                </a:extLst>
              </p:cNvPr>
              <p:cNvSpPr>
                <a:spLocks noChangeArrowheads="1"/>
              </p:cNvSpPr>
              <p:nvPr/>
            </p:nvSpPr>
            <p:spPr bwMode="auto">
              <a:xfrm>
                <a:off x="-1505" y="737"/>
                <a:ext cx="459" cy="434"/>
              </a:xfrm>
              <a:prstGeom prst="ellipse">
                <a:avLst/>
              </a:prstGeom>
              <a:solidFill>
                <a:srgbClr val="5F5F5F"/>
              </a:solidFill>
              <a:ln w="9525">
                <a:solidFill>
                  <a:srgbClr val="000000"/>
                </a:solidFill>
                <a:round/>
                <a:headEnd/>
                <a:tailEnd/>
              </a:ln>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sp>
            <p:nvSpPr>
              <p:cNvPr id="132" name="Oval 186">
                <a:extLst>
                  <a:ext uri="{FF2B5EF4-FFF2-40B4-BE49-F238E27FC236}">
                    <a16:creationId xmlns:a16="http://schemas.microsoft.com/office/drawing/2014/main" id="{C1AE126C-D7F9-41CD-8709-1633925947E4}"/>
                  </a:ext>
                </a:extLst>
              </p:cNvPr>
              <p:cNvSpPr>
                <a:spLocks noChangeArrowheads="1"/>
              </p:cNvSpPr>
              <p:nvPr/>
            </p:nvSpPr>
            <p:spPr bwMode="auto">
              <a:xfrm>
                <a:off x="-1483" y="759"/>
                <a:ext cx="415" cy="391"/>
              </a:xfrm>
              <a:prstGeom prst="ellipse">
                <a:avLst/>
              </a:prstGeom>
              <a:solidFill>
                <a:srgbClr val="DFDFDF"/>
              </a:solidFill>
              <a:ln w="9525">
                <a:solidFill>
                  <a:srgbClr val="000000"/>
                </a:solidFill>
                <a:round/>
                <a:headEnd/>
                <a:tailEnd/>
              </a:ln>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sp>
            <p:nvSpPr>
              <p:cNvPr id="133" name="Oval 187">
                <a:extLst>
                  <a:ext uri="{FF2B5EF4-FFF2-40B4-BE49-F238E27FC236}">
                    <a16:creationId xmlns:a16="http://schemas.microsoft.com/office/drawing/2014/main" id="{573FD1A6-1544-44C9-9DB4-CE2BFC123454}"/>
                  </a:ext>
                </a:extLst>
              </p:cNvPr>
              <p:cNvSpPr>
                <a:spLocks noChangeArrowheads="1"/>
              </p:cNvSpPr>
              <p:nvPr/>
            </p:nvSpPr>
            <p:spPr bwMode="auto">
              <a:xfrm>
                <a:off x="-1536" y="720"/>
                <a:ext cx="521" cy="493"/>
              </a:xfrm>
              <a:prstGeom prst="ellipse">
                <a:avLst/>
              </a:pr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grpSp>
            <p:nvGrpSpPr>
              <p:cNvPr id="134" name="Group 188">
                <a:extLst>
                  <a:ext uri="{FF2B5EF4-FFF2-40B4-BE49-F238E27FC236}">
                    <a16:creationId xmlns:a16="http://schemas.microsoft.com/office/drawing/2014/main" id="{1BE7CA48-87C4-45FE-951A-96437326A829}"/>
                  </a:ext>
                </a:extLst>
              </p:cNvPr>
              <p:cNvGrpSpPr>
                <a:grpSpLocks/>
              </p:cNvGrpSpPr>
              <p:nvPr/>
            </p:nvGrpSpPr>
            <p:grpSpPr bwMode="auto">
              <a:xfrm>
                <a:off x="-1458" y="776"/>
                <a:ext cx="369" cy="370"/>
                <a:chOff x="2480" y="1948"/>
                <a:chExt cx="1253" cy="1307"/>
              </a:xfrm>
            </p:grpSpPr>
            <p:sp>
              <p:nvSpPr>
                <p:cNvPr id="198" name="Oval 189">
                  <a:extLst>
                    <a:ext uri="{FF2B5EF4-FFF2-40B4-BE49-F238E27FC236}">
                      <a16:creationId xmlns:a16="http://schemas.microsoft.com/office/drawing/2014/main" id="{CB524A80-03D5-4646-BCE6-5A6EC8A492C8}"/>
                    </a:ext>
                  </a:extLst>
                </p:cNvPr>
                <p:cNvSpPr>
                  <a:spLocks noChangeArrowheads="1"/>
                </p:cNvSpPr>
                <p:nvPr/>
              </p:nvSpPr>
              <p:spPr bwMode="auto">
                <a:xfrm>
                  <a:off x="2555" y="2031"/>
                  <a:ext cx="1173" cy="1223"/>
                </a:xfrm>
                <a:prstGeom prst="ellipse">
                  <a:avLst/>
                </a:prstGeom>
                <a:solidFill>
                  <a:srgbClr val="FFFFFF"/>
                </a:solidFill>
                <a:ln w="9525">
                  <a:solidFill>
                    <a:srgbClr val="000000"/>
                  </a:solidFill>
                  <a:round/>
                  <a:headEnd/>
                  <a:tailEnd/>
                </a:ln>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sp>
              <p:nvSpPr>
                <p:cNvPr id="199" name="Oval 190">
                  <a:extLst>
                    <a:ext uri="{FF2B5EF4-FFF2-40B4-BE49-F238E27FC236}">
                      <a16:creationId xmlns:a16="http://schemas.microsoft.com/office/drawing/2014/main" id="{56D8BA10-C57D-4A74-B2DA-1BF427E06F3C}"/>
                    </a:ext>
                  </a:extLst>
                </p:cNvPr>
                <p:cNvSpPr>
                  <a:spLocks noChangeArrowheads="1"/>
                </p:cNvSpPr>
                <p:nvPr/>
              </p:nvSpPr>
              <p:spPr bwMode="auto">
                <a:xfrm>
                  <a:off x="2480" y="1943"/>
                  <a:ext cx="1204" cy="1252"/>
                </a:xfrm>
                <a:prstGeom prst="ellipse">
                  <a:avLst/>
                </a:prstGeom>
                <a:solidFill>
                  <a:srgbClr val="5B6F80"/>
                </a:solidFill>
                <a:ln w="9525">
                  <a:solidFill>
                    <a:srgbClr val="000000"/>
                  </a:solidFill>
                  <a:round/>
                  <a:headEnd/>
                  <a:tailEnd/>
                </a:ln>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grpSp>
          <p:grpSp>
            <p:nvGrpSpPr>
              <p:cNvPr id="135" name="Group 194">
                <a:extLst>
                  <a:ext uri="{FF2B5EF4-FFF2-40B4-BE49-F238E27FC236}">
                    <a16:creationId xmlns:a16="http://schemas.microsoft.com/office/drawing/2014/main" id="{A646F833-99DE-4CAA-AEEF-7DAE38E1D7A9}"/>
                  </a:ext>
                </a:extLst>
              </p:cNvPr>
              <p:cNvGrpSpPr>
                <a:grpSpLocks/>
              </p:cNvGrpSpPr>
              <p:nvPr/>
            </p:nvGrpSpPr>
            <p:grpSpPr bwMode="auto">
              <a:xfrm>
                <a:off x="-1480" y="761"/>
                <a:ext cx="406" cy="187"/>
                <a:chOff x="2413" y="1907"/>
                <a:chExt cx="1381" cy="663"/>
              </a:xfrm>
            </p:grpSpPr>
            <p:grpSp>
              <p:nvGrpSpPr>
                <p:cNvPr id="190" name="Group 195">
                  <a:extLst>
                    <a:ext uri="{FF2B5EF4-FFF2-40B4-BE49-F238E27FC236}">
                      <a16:creationId xmlns:a16="http://schemas.microsoft.com/office/drawing/2014/main" id="{23CDF21A-140A-4F0B-B507-40E0B11F1234}"/>
                    </a:ext>
                  </a:extLst>
                </p:cNvPr>
                <p:cNvGrpSpPr>
                  <a:grpSpLocks/>
                </p:cNvGrpSpPr>
                <p:nvPr/>
              </p:nvGrpSpPr>
              <p:grpSpPr bwMode="auto">
                <a:xfrm>
                  <a:off x="2413" y="1907"/>
                  <a:ext cx="697" cy="661"/>
                  <a:chOff x="2413" y="1907"/>
                  <a:chExt cx="697" cy="661"/>
                </a:xfrm>
              </p:grpSpPr>
              <p:sp>
                <p:nvSpPr>
                  <p:cNvPr id="194" name="Freeform 196">
                    <a:extLst>
                      <a:ext uri="{FF2B5EF4-FFF2-40B4-BE49-F238E27FC236}">
                        <a16:creationId xmlns:a16="http://schemas.microsoft.com/office/drawing/2014/main" id="{49173B55-C4F4-4CA2-9C42-63A12792116B}"/>
                      </a:ext>
                    </a:extLst>
                  </p:cNvPr>
                  <p:cNvSpPr>
                    <a:spLocks/>
                  </p:cNvSpPr>
                  <p:nvPr/>
                </p:nvSpPr>
                <p:spPr bwMode="auto">
                  <a:xfrm>
                    <a:off x="2747" y="1987"/>
                    <a:ext cx="51" cy="74"/>
                  </a:xfrm>
                  <a:custGeom>
                    <a:avLst/>
                    <a:gdLst>
                      <a:gd name="T0" fmla="*/ 0 w 51"/>
                      <a:gd name="T1" fmla="*/ 4 h 76"/>
                      <a:gd name="T2" fmla="*/ 9 w 51"/>
                      <a:gd name="T3" fmla="*/ 0 h 76"/>
                      <a:gd name="T4" fmla="*/ 51 w 51"/>
                      <a:gd name="T5" fmla="*/ 71 h 76"/>
                      <a:gd name="T6" fmla="*/ 42 w 51"/>
                      <a:gd name="T7" fmla="*/ 76 h 76"/>
                      <a:gd name="T8" fmla="*/ 0 w 51"/>
                      <a:gd name="T9" fmla="*/ 4 h 76"/>
                    </a:gdLst>
                    <a:ahLst/>
                    <a:cxnLst>
                      <a:cxn ang="0">
                        <a:pos x="T0" y="T1"/>
                      </a:cxn>
                      <a:cxn ang="0">
                        <a:pos x="T2" y="T3"/>
                      </a:cxn>
                      <a:cxn ang="0">
                        <a:pos x="T4" y="T5"/>
                      </a:cxn>
                      <a:cxn ang="0">
                        <a:pos x="T6" y="T7"/>
                      </a:cxn>
                      <a:cxn ang="0">
                        <a:pos x="T8" y="T9"/>
                      </a:cxn>
                    </a:cxnLst>
                    <a:rect l="0" t="0" r="r" b="b"/>
                    <a:pathLst>
                      <a:path w="51" h="76">
                        <a:moveTo>
                          <a:pt x="0" y="4"/>
                        </a:moveTo>
                        <a:lnTo>
                          <a:pt x="9" y="0"/>
                        </a:lnTo>
                        <a:lnTo>
                          <a:pt x="51" y="71"/>
                        </a:lnTo>
                        <a:lnTo>
                          <a:pt x="42" y="76"/>
                        </a:lnTo>
                        <a:lnTo>
                          <a:pt x="0" y="4"/>
                        </a:lnTo>
                        <a:close/>
                      </a:path>
                    </a:pathLst>
                  </a:custGeom>
                  <a:solidFill>
                    <a:srgbClr val="000000"/>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95" name="Rectangle 197">
                    <a:extLst>
                      <a:ext uri="{FF2B5EF4-FFF2-40B4-BE49-F238E27FC236}">
                        <a16:creationId xmlns:a16="http://schemas.microsoft.com/office/drawing/2014/main" id="{1B5C3C00-0CAB-479B-94A7-4963E7869FC2}"/>
                      </a:ext>
                    </a:extLst>
                  </p:cNvPr>
                  <p:cNvSpPr>
                    <a:spLocks noChangeArrowheads="1"/>
                  </p:cNvSpPr>
                  <p:nvPr/>
                </p:nvSpPr>
                <p:spPr bwMode="auto">
                  <a:xfrm>
                    <a:off x="3096" y="1909"/>
                    <a:ext cx="10" cy="78"/>
                  </a:xfrm>
                  <a:prstGeom prst="rect">
                    <a:avLst/>
                  </a:prstGeom>
                  <a:solidFill>
                    <a:srgbClr val="000000"/>
                  </a:solidFill>
                  <a:ln w="9525">
                    <a:solidFill>
                      <a:srgbClr val="000000"/>
                    </a:solidFill>
                    <a:miter lim="800000"/>
                    <a:headEnd/>
                    <a:tailEnd/>
                  </a:ln>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sp>
                <p:nvSpPr>
                  <p:cNvPr id="196" name="Freeform 198">
                    <a:extLst>
                      <a:ext uri="{FF2B5EF4-FFF2-40B4-BE49-F238E27FC236}">
                        <a16:creationId xmlns:a16="http://schemas.microsoft.com/office/drawing/2014/main" id="{FC5FDD10-35B2-4DD9-AC73-15D26BDA581A}"/>
                      </a:ext>
                    </a:extLst>
                  </p:cNvPr>
                  <p:cNvSpPr>
                    <a:spLocks/>
                  </p:cNvSpPr>
                  <p:nvPr/>
                </p:nvSpPr>
                <p:spPr bwMode="auto">
                  <a:xfrm>
                    <a:off x="2512" y="2227"/>
                    <a:ext cx="65" cy="39"/>
                  </a:xfrm>
                  <a:custGeom>
                    <a:avLst/>
                    <a:gdLst>
                      <a:gd name="T0" fmla="*/ 4 w 65"/>
                      <a:gd name="T1" fmla="*/ 0 h 43"/>
                      <a:gd name="T2" fmla="*/ 0 w 65"/>
                      <a:gd name="T3" fmla="*/ 10 h 43"/>
                      <a:gd name="T4" fmla="*/ 60 w 65"/>
                      <a:gd name="T5" fmla="*/ 43 h 43"/>
                      <a:gd name="T6" fmla="*/ 65 w 65"/>
                      <a:gd name="T7" fmla="*/ 32 h 43"/>
                      <a:gd name="T8" fmla="*/ 4 w 65"/>
                      <a:gd name="T9" fmla="*/ 0 h 43"/>
                    </a:gdLst>
                    <a:ahLst/>
                    <a:cxnLst>
                      <a:cxn ang="0">
                        <a:pos x="T0" y="T1"/>
                      </a:cxn>
                      <a:cxn ang="0">
                        <a:pos x="T2" y="T3"/>
                      </a:cxn>
                      <a:cxn ang="0">
                        <a:pos x="T4" y="T5"/>
                      </a:cxn>
                      <a:cxn ang="0">
                        <a:pos x="T6" y="T7"/>
                      </a:cxn>
                      <a:cxn ang="0">
                        <a:pos x="T8" y="T9"/>
                      </a:cxn>
                    </a:cxnLst>
                    <a:rect l="0" t="0" r="r" b="b"/>
                    <a:pathLst>
                      <a:path w="65" h="43">
                        <a:moveTo>
                          <a:pt x="4" y="0"/>
                        </a:moveTo>
                        <a:lnTo>
                          <a:pt x="0" y="10"/>
                        </a:lnTo>
                        <a:lnTo>
                          <a:pt x="60" y="43"/>
                        </a:lnTo>
                        <a:lnTo>
                          <a:pt x="65" y="32"/>
                        </a:lnTo>
                        <a:lnTo>
                          <a:pt x="4" y="0"/>
                        </a:lnTo>
                        <a:close/>
                      </a:path>
                    </a:pathLst>
                  </a:custGeom>
                  <a:solidFill>
                    <a:srgbClr val="000000"/>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97" name="Rectangle 199">
                    <a:extLst>
                      <a:ext uri="{FF2B5EF4-FFF2-40B4-BE49-F238E27FC236}">
                        <a16:creationId xmlns:a16="http://schemas.microsoft.com/office/drawing/2014/main" id="{EF249D13-3CE0-4F12-BF0C-0EDB818AE13A}"/>
                      </a:ext>
                    </a:extLst>
                  </p:cNvPr>
                  <p:cNvSpPr>
                    <a:spLocks noChangeArrowheads="1"/>
                  </p:cNvSpPr>
                  <p:nvPr/>
                </p:nvSpPr>
                <p:spPr bwMode="auto">
                  <a:xfrm>
                    <a:off x="2412" y="2542"/>
                    <a:ext cx="61" cy="14"/>
                  </a:xfrm>
                  <a:prstGeom prst="rect">
                    <a:avLst/>
                  </a:prstGeom>
                  <a:solidFill>
                    <a:srgbClr val="000000"/>
                  </a:solidFill>
                  <a:ln w="9525">
                    <a:solidFill>
                      <a:srgbClr val="000000"/>
                    </a:solidFill>
                    <a:miter lim="800000"/>
                    <a:headEnd/>
                    <a:tailEnd/>
                  </a:ln>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grpSp>
            <p:sp>
              <p:nvSpPr>
                <p:cNvPr id="191" name="Freeform 200">
                  <a:extLst>
                    <a:ext uri="{FF2B5EF4-FFF2-40B4-BE49-F238E27FC236}">
                      <a16:creationId xmlns:a16="http://schemas.microsoft.com/office/drawing/2014/main" id="{513512BE-E008-4352-8E69-48F705D98FED}"/>
                    </a:ext>
                  </a:extLst>
                </p:cNvPr>
                <p:cNvSpPr>
                  <a:spLocks/>
                </p:cNvSpPr>
                <p:nvPr/>
              </p:nvSpPr>
              <p:spPr bwMode="auto">
                <a:xfrm>
                  <a:off x="3410" y="1990"/>
                  <a:ext cx="51" cy="78"/>
                </a:xfrm>
                <a:custGeom>
                  <a:avLst/>
                  <a:gdLst>
                    <a:gd name="T0" fmla="*/ 52 w 52"/>
                    <a:gd name="T1" fmla="*/ 5 h 77"/>
                    <a:gd name="T2" fmla="*/ 43 w 52"/>
                    <a:gd name="T3" fmla="*/ 0 h 77"/>
                    <a:gd name="T4" fmla="*/ 0 w 52"/>
                    <a:gd name="T5" fmla="*/ 71 h 77"/>
                    <a:gd name="T6" fmla="*/ 9 w 52"/>
                    <a:gd name="T7" fmla="*/ 77 h 77"/>
                    <a:gd name="T8" fmla="*/ 52 w 52"/>
                    <a:gd name="T9" fmla="*/ 5 h 77"/>
                  </a:gdLst>
                  <a:ahLst/>
                  <a:cxnLst>
                    <a:cxn ang="0">
                      <a:pos x="T0" y="T1"/>
                    </a:cxn>
                    <a:cxn ang="0">
                      <a:pos x="T2" y="T3"/>
                    </a:cxn>
                    <a:cxn ang="0">
                      <a:pos x="T4" y="T5"/>
                    </a:cxn>
                    <a:cxn ang="0">
                      <a:pos x="T6" y="T7"/>
                    </a:cxn>
                    <a:cxn ang="0">
                      <a:pos x="T8" y="T9"/>
                    </a:cxn>
                  </a:cxnLst>
                  <a:rect l="0" t="0" r="r" b="b"/>
                  <a:pathLst>
                    <a:path w="52" h="77">
                      <a:moveTo>
                        <a:pt x="52" y="5"/>
                      </a:moveTo>
                      <a:lnTo>
                        <a:pt x="43" y="0"/>
                      </a:lnTo>
                      <a:lnTo>
                        <a:pt x="0" y="71"/>
                      </a:lnTo>
                      <a:lnTo>
                        <a:pt x="9" y="77"/>
                      </a:lnTo>
                      <a:lnTo>
                        <a:pt x="52" y="5"/>
                      </a:lnTo>
                      <a:close/>
                    </a:path>
                  </a:pathLst>
                </a:custGeom>
                <a:solidFill>
                  <a:srgbClr val="000000"/>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92" name="Freeform 201">
                  <a:extLst>
                    <a:ext uri="{FF2B5EF4-FFF2-40B4-BE49-F238E27FC236}">
                      <a16:creationId xmlns:a16="http://schemas.microsoft.com/office/drawing/2014/main" id="{004CA8B5-468B-4A2E-B483-C13FEFF094CD}"/>
                    </a:ext>
                  </a:extLst>
                </p:cNvPr>
                <p:cNvSpPr>
                  <a:spLocks/>
                </p:cNvSpPr>
                <p:nvPr/>
              </p:nvSpPr>
              <p:spPr bwMode="auto">
                <a:xfrm>
                  <a:off x="3632" y="2227"/>
                  <a:ext cx="65" cy="42"/>
                </a:xfrm>
                <a:custGeom>
                  <a:avLst/>
                  <a:gdLst>
                    <a:gd name="T0" fmla="*/ 60 w 64"/>
                    <a:gd name="T1" fmla="*/ 0 h 42"/>
                    <a:gd name="T2" fmla="*/ 64 w 64"/>
                    <a:gd name="T3" fmla="*/ 10 h 42"/>
                    <a:gd name="T4" fmla="*/ 4 w 64"/>
                    <a:gd name="T5" fmla="*/ 42 h 42"/>
                    <a:gd name="T6" fmla="*/ 0 w 64"/>
                    <a:gd name="T7" fmla="*/ 32 h 42"/>
                    <a:gd name="T8" fmla="*/ 60 w 64"/>
                    <a:gd name="T9" fmla="*/ 0 h 42"/>
                  </a:gdLst>
                  <a:ahLst/>
                  <a:cxnLst>
                    <a:cxn ang="0">
                      <a:pos x="T0" y="T1"/>
                    </a:cxn>
                    <a:cxn ang="0">
                      <a:pos x="T2" y="T3"/>
                    </a:cxn>
                    <a:cxn ang="0">
                      <a:pos x="T4" y="T5"/>
                    </a:cxn>
                    <a:cxn ang="0">
                      <a:pos x="T6" y="T7"/>
                    </a:cxn>
                    <a:cxn ang="0">
                      <a:pos x="T8" y="T9"/>
                    </a:cxn>
                  </a:cxnLst>
                  <a:rect l="0" t="0" r="r" b="b"/>
                  <a:pathLst>
                    <a:path w="64" h="42">
                      <a:moveTo>
                        <a:pt x="60" y="0"/>
                      </a:moveTo>
                      <a:lnTo>
                        <a:pt x="64" y="10"/>
                      </a:lnTo>
                      <a:lnTo>
                        <a:pt x="4" y="42"/>
                      </a:lnTo>
                      <a:lnTo>
                        <a:pt x="0" y="32"/>
                      </a:lnTo>
                      <a:lnTo>
                        <a:pt x="60" y="0"/>
                      </a:lnTo>
                      <a:close/>
                    </a:path>
                  </a:pathLst>
                </a:custGeom>
                <a:solidFill>
                  <a:srgbClr val="000000"/>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93" name="Rectangle 202">
                  <a:extLst>
                    <a:ext uri="{FF2B5EF4-FFF2-40B4-BE49-F238E27FC236}">
                      <a16:creationId xmlns:a16="http://schemas.microsoft.com/office/drawing/2014/main" id="{0E16D9A6-6ABB-48CC-9DCD-E0E5266F4F50}"/>
                    </a:ext>
                  </a:extLst>
                </p:cNvPr>
                <p:cNvSpPr>
                  <a:spLocks noChangeArrowheads="1"/>
                </p:cNvSpPr>
                <p:nvPr/>
              </p:nvSpPr>
              <p:spPr bwMode="auto">
                <a:xfrm>
                  <a:off x="3731" y="2560"/>
                  <a:ext cx="58" cy="11"/>
                </a:xfrm>
                <a:prstGeom prst="rect">
                  <a:avLst/>
                </a:prstGeom>
                <a:solidFill>
                  <a:srgbClr val="000000"/>
                </a:solidFill>
                <a:ln w="9525">
                  <a:solidFill>
                    <a:srgbClr val="000000"/>
                  </a:solidFill>
                  <a:miter lim="800000"/>
                  <a:headEnd/>
                  <a:tailEnd/>
                </a:ln>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grpSp>
          <p:grpSp>
            <p:nvGrpSpPr>
              <p:cNvPr id="136" name="Group 203">
                <a:extLst>
                  <a:ext uri="{FF2B5EF4-FFF2-40B4-BE49-F238E27FC236}">
                    <a16:creationId xmlns:a16="http://schemas.microsoft.com/office/drawing/2014/main" id="{0E6F4066-B5FE-4A21-8A7D-B52889F82A8B}"/>
                  </a:ext>
                </a:extLst>
              </p:cNvPr>
              <p:cNvGrpSpPr>
                <a:grpSpLocks/>
              </p:cNvGrpSpPr>
              <p:nvPr/>
            </p:nvGrpSpPr>
            <p:grpSpPr bwMode="auto">
              <a:xfrm>
                <a:off x="-1459" y="1031"/>
                <a:ext cx="362" cy="116"/>
                <a:chOff x="2485" y="2867"/>
                <a:chExt cx="1231" cy="414"/>
              </a:xfrm>
            </p:grpSpPr>
            <p:sp>
              <p:nvSpPr>
                <p:cNvPr id="185" name="Freeform 204">
                  <a:extLst>
                    <a:ext uri="{FF2B5EF4-FFF2-40B4-BE49-F238E27FC236}">
                      <a16:creationId xmlns:a16="http://schemas.microsoft.com/office/drawing/2014/main" id="{4095BB5A-B8F0-48B8-BF3D-982D20ECEA34}"/>
                    </a:ext>
                  </a:extLst>
                </p:cNvPr>
                <p:cNvSpPr>
                  <a:spLocks/>
                </p:cNvSpPr>
                <p:nvPr/>
              </p:nvSpPr>
              <p:spPr bwMode="auto">
                <a:xfrm>
                  <a:off x="2724" y="3102"/>
                  <a:ext cx="51" cy="75"/>
                </a:xfrm>
                <a:custGeom>
                  <a:avLst/>
                  <a:gdLst>
                    <a:gd name="T0" fmla="*/ 0 w 52"/>
                    <a:gd name="T1" fmla="*/ 72 h 76"/>
                    <a:gd name="T2" fmla="*/ 9 w 52"/>
                    <a:gd name="T3" fmla="*/ 76 h 76"/>
                    <a:gd name="T4" fmla="*/ 52 w 52"/>
                    <a:gd name="T5" fmla="*/ 6 h 76"/>
                    <a:gd name="T6" fmla="*/ 43 w 52"/>
                    <a:gd name="T7" fmla="*/ 0 h 76"/>
                    <a:gd name="T8" fmla="*/ 0 w 52"/>
                    <a:gd name="T9" fmla="*/ 72 h 76"/>
                  </a:gdLst>
                  <a:ahLst/>
                  <a:cxnLst>
                    <a:cxn ang="0">
                      <a:pos x="T0" y="T1"/>
                    </a:cxn>
                    <a:cxn ang="0">
                      <a:pos x="T2" y="T3"/>
                    </a:cxn>
                    <a:cxn ang="0">
                      <a:pos x="T4" y="T5"/>
                    </a:cxn>
                    <a:cxn ang="0">
                      <a:pos x="T6" y="T7"/>
                    </a:cxn>
                    <a:cxn ang="0">
                      <a:pos x="T8" y="T9"/>
                    </a:cxn>
                  </a:cxnLst>
                  <a:rect l="0" t="0" r="r" b="b"/>
                  <a:pathLst>
                    <a:path w="52" h="76">
                      <a:moveTo>
                        <a:pt x="0" y="72"/>
                      </a:moveTo>
                      <a:lnTo>
                        <a:pt x="9" y="76"/>
                      </a:lnTo>
                      <a:lnTo>
                        <a:pt x="52" y="6"/>
                      </a:lnTo>
                      <a:lnTo>
                        <a:pt x="43" y="0"/>
                      </a:lnTo>
                      <a:lnTo>
                        <a:pt x="0" y="72"/>
                      </a:lnTo>
                      <a:close/>
                    </a:path>
                  </a:pathLst>
                </a:custGeom>
                <a:solidFill>
                  <a:srgbClr val="000000"/>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86" name="Rectangle 205">
                  <a:extLst>
                    <a:ext uri="{FF2B5EF4-FFF2-40B4-BE49-F238E27FC236}">
                      <a16:creationId xmlns:a16="http://schemas.microsoft.com/office/drawing/2014/main" id="{F9057BA7-A36F-4F70-BBD7-262AD7E5C394}"/>
                    </a:ext>
                  </a:extLst>
                </p:cNvPr>
                <p:cNvSpPr>
                  <a:spLocks noChangeArrowheads="1"/>
                </p:cNvSpPr>
                <p:nvPr/>
              </p:nvSpPr>
              <p:spPr bwMode="auto">
                <a:xfrm>
                  <a:off x="3099" y="3209"/>
                  <a:ext cx="7" cy="75"/>
                </a:xfrm>
                <a:prstGeom prst="rect">
                  <a:avLst/>
                </a:prstGeom>
                <a:solidFill>
                  <a:srgbClr val="000000"/>
                </a:solidFill>
                <a:ln w="9525">
                  <a:solidFill>
                    <a:srgbClr val="000000"/>
                  </a:solidFill>
                  <a:miter lim="800000"/>
                  <a:headEnd/>
                  <a:tailEnd/>
                </a:ln>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sp>
              <p:nvSpPr>
                <p:cNvPr id="187" name="Freeform 206">
                  <a:extLst>
                    <a:ext uri="{FF2B5EF4-FFF2-40B4-BE49-F238E27FC236}">
                      <a16:creationId xmlns:a16="http://schemas.microsoft.com/office/drawing/2014/main" id="{4F0E9576-E2B9-46C4-A422-62E402AA78F5}"/>
                    </a:ext>
                  </a:extLst>
                </p:cNvPr>
                <p:cNvSpPr>
                  <a:spLocks/>
                </p:cNvSpPr>
                <p:nvPr/>
              </p:nvSpPr>
              <p:spPr bwMode="auto">
                <a:xfrm>
                  <a:off x="2485" y="2871"/>
                  <a:ext cx="65" cy="46"/>
                </a:xfrm>
                <a:custGeom>
                  <a:avLst/>
                  <a:gdLst>
                    <a:gd name="T0" fmla="*/ 5 w 65"/>
                    <a:gd name="T1" fmla="*/ 44 h 44"/>
                    <a:gd name="T2" fmla="*/ 0 w 65"/>
                    <a:gd name="T3" fmla="*/ 34 h 44"/>
                    <a:gd name="T4" fmla="*/ 61 w 65"/>
                    <a:gd name="T5" fmla="*/ 0 h 44"/>
                    <a:gd name="T6" fmla="*/ 65 w 65"/>
                    <a:gd name="T7" fmla="*/ 12 h 44"/>
                    <a:gd name="T8" fmla="*/ 5 w 65"/>
                    <a:gd name="T9" fmla="*/ 44 h 44"/>
                  </a:gdLst>
                  <a:ahLst/>
                  <a:cxnLst>
                    <a:cxn ang="0">
                      <a:pos x="T0" y="T1"/>
                    </a:cxn>
                    <a:cxn ang="0">
                      <a:pos x="T2" y="T3"/>
                    </a:cxn>
                    <a:cxn ang="0">
                      <a:pos x="T4" y="T5"/>
                    </a:cxn>
                    <a:cxn ang="0">
                      <a:pos x="T6" y="T7"/>
                    </a:cxn>
                    <a:cxn ang="0">
                      <a:pos x="T8" y="T9"/>
                    </a:cxn>
                  </a:cxnLst>
                  <a:rect l="0" t="0" r="r" b="b"/>
                  <a:pathLst>
                    <a:path w="65" h="44">
                      <a:moveTo>
                        <a:pt x="5" y="44"/>
                      </a:moveTo>
                      <a:lnTo>
                        <a:pt x="0" y="34"/>
                      </a:lnTo>
                      <a:lnTo>
                        <a:pt x="61" y="0"/>
                      </a:lnTo>
                      <a:lnTo>
                        <a:pt x="65" y="12"/>
                      </a:lnTo>
                      <a:lnTo>
                        <a:pt x="5" y="44"/>
                      </a:lnTo>
                      <a:close/>
                    </a:path>
                  </a:pathLst>
                </a:custGeom>
                <a:solidFill>
                  <a:srgbClr val="000000"/>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88" name="Freeform 207">
                  <a:extLst>
                    <a:ext uri="{FF2B5EF4-FFF2-40B4-BE49-F238E27FC236}">
                      <a16:creationId xmlns:a16="http://schemas.microsoft.com/office/drawing/2014/main" id="{FD6B6719-BBC3-425B-BE88-1B0C30B72CDC}"/>
                    </a:ext>
                  </a:extLst>
                </p:cNvPr>
                <p:cNvSpPr>
                  <a:spLocks/>
                </p:cNvSpPr>
                <p:nvPr/>
              </p:nvSpPr>
              <p:spPr bwMode="auto">
                <a:xfrm>
                  <a:off x="3431" y="3099"/>
                  <a:ext cx="51" cy="78"/>
                </a:xfrm>
                <a:custGeom>
                  <a:avLst/>
                  <a:gdLst>
                    <a:gd name="T0" fmla="*/ 52 w 52"/>
                    <a:gd name="T1" fmla="*/ 72 h 77"/>
                    <a:gd name="T2" fmla="*/ 43 w 52"/>
                    <a:gd name="T3" fmla="*/ 77 h 77"/>
                    <a:gd name="T4" fmla="*/ 0 w 52"/>
                    <a:gd name="T5" fmla="*/ 6 h 77"/>
                    <a:gd name="T6" fmla="*/ 9 w 52"/>
                    <a:gd name="T7" fmla="*/ 0 h 77"/>
                    <a:gd name="T8" fmla="*/ 52 w 52"/>
                    <a:gd name="T9" fmla="*/ 72 h 77"/>
                  </a:gdLst>
                  <a:ahLst/>
                  <a:cxnLst>
                    <a:cxn ang="0">
                      <a:pos x="T0" y="T1"/>
                    </a:cxn>
                    <a:cxn ang="0">
                      <a:pos x="T2" y="T3"/>
                    </a:cxn>
                    <a:cxn ang="0">
                      <a:pos x="T4" y="T5"/>
                    </a:cxn>
                    <a:cxn ang="0">
                      <a:pos x="T6" y="T7"/>
                    </a:cxn>
                    <a:cxn ang="0">
                      <a:pos x="T8" y="T9"/>
                    </a:cxn>
                  </a:cxnLst>
                  <a:rect l="0" t="0" r="r" b="b"/>
                  <a:pathLst>
                    <a:path w="52" h="77">
                      <a:moveTo>
                        <a:pt x="52" y="72"/>
                      </a:moveTo>
                      <a:lnTo>
                        <a:pt x="43" y="77"/>
                      </a:lnTo>
                      <a:lnTo>
                        <a:pt x="0" y="6"/>
                      </a:lnTo>
                      <a:lnTo>
                        <a:pt x="9" y="0"/>
                      </a:lnTo>
                      <a:lnTo>
                        <a:pt x="52" y="72"/>
                      </a:lnTo>
                      <a:close/>
                    </a:path>
                  </a:pathLst>
                </a:custGeom>
                <a:solidFill>
                  <a:srgbClr val="000000"/>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89" name="Freeform 208">
                  <a:extLst>
                    <a:ext uri="{FF2B5EF4-FFF2-40B4-BE49-F238E27FC236}">
                      <a16:creationId xmlns:a16="http://schemas.microsoft.com/office/drawing/2014/main" id="{8A26465C-71A4-4226-AD74-317E127D86C6}"/>
                    </a:ext>
                  </a:extLst>
                </p:cNvPr>
                <p:cNvSpPr>
                  <a:spLocks/>
                </p:cNvSpPr>
                <p:nvPr/>
              </p:nvSpPr>
              <p:spPr bwMode="auto">
                <a:xfrm>
                  <a:off x="3646" y="2867"/>
                  <a:ext cx="65" cy="46"/>
                </a:xfrm>
                <a:custGeom>
                  <a:avLst/>
                  <a:gdLst>
                    <a:gd name="T0" fmla="*/ 61 w 65"/>
                    <a:gd name="T1" fmla="*/ 45 h 45"/>
                    <a:gd name="T2" fmla="*/ 65 w 65"/>
                    <a:gd name="T3" fmla="*/ 34 h 45"/>
                    <a:gd name="T4" fmla="*/ 5 w 65"/>
                    <a:gd name="T5" fmla="*/ 0 h 45"/>
                    <a:gd name="T6" fmla="*/ 0 w 65"/>
                    <a:gd name="T7" fmla="*/ 11 h 45"/>
                    <a:gd name="T8" fmla="*/ 61 w 65"/>
                    <a:gd name="T9" fmla="*/ 45 h 45"/>
                  </a:gdLst>
                  <a:ahLst/>
                  <a:cxnLst>
                    <a:cxn ang="0">
                      <a:pos x="T0" y="T1"/>
                    </a:cxn>
                    <a:cxn ang="0">
                      <a:pos x="T2" y="T3"/>
                    </a:cxn>
                    <a:cxn ang="0">
                      <a:pos x="T4" y="T5"/>
                    </a:cxn>
                    <a:cxn ang="0">
                      <a:pos x="T6" y="T7"/>
                    </a:cxn>
                    <a:cxn ang="0">
                      <a:pos x="T8" y="T9"/>
                    </a:cxn>
                  </a:cxnLst>
                  <a:rect l="0" t="0" r="r" b="b"/>
                  <a:pathLst>
                    <a:path w="65" h="45">
                      <a:moveTo>
                        <a:pt x="61" y="45"/>
                      </a:moveTo>
                      <a:lnTo>
                        <a:pt x="65" y="34"/>
                      </a:lnTo>
                      <a:lnTo>
                        <a:pt x="5" y="0"/>
                      </a:lnTo>
                      <a:lnTo>
                        <a:pt x="0" y="11"/>
                      </a:lnTo>
                      <a:lnTo>
                        <a:pt x="61" y="45"/>
                      </a:lnTo>
                      <a:close/>
                    </a:path>
                  </a:pathLst>
                </a:custGeom>
                <a:solidFill>
                  <a:srgbClr val="000000"/>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grpSp>
          <p:sp>
            <p:nvSpPr>
              <p:cNvPr id="137" name="Oval 209">
                <a:extLst>
                  <a:ext uri="{FF2B5EF4-FFF2-40B4-BE49-F238E27FC236}">
                    <a16:creationId xmlns:a16="http://schemas.microsoft.com/office/drawing/2014/main" id="{38F2FC95-A767-4830-9FF4-B30C67CEE6ED}"/>
                  </a:ext>
                </a:extLst>
              </p:cNvPr>
              <p:cNvSpPr>
                <a:spLocks noChangeArrowheads="1"/>
              </p:cNvSpPr>
              <p:nvPr/>
            </p:nvSpPr>
            <p:spPr bwMode="auto">
              <a:xfrm>
                <a:off x="-1391" y="537"/>
                <a:ext cx="194" cy="156"/>
              </a:xfrm>
              <a:prstGeom prst="ellipse">
                <a:avLst/>
              </a:pr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sp>
            <p:nvSpPr>
              <p:cNvPr id="138" name="Freeform 210">
                <a:extLst>
                  <a:ext uri="{FF2B5EF4-FFF2-40B4-BE49-F238E27FC236}">
                    <a16:creationId xmlns:a16="http://schemas.microsoft.com/office/drawing/2014/main" id="{BB021E3C-0070-41C2-BB63-8F3994833677}"/>
                  </a:ext>
                </a:extLst>
              </p:cNvPr>
              <p:cNvSpPr>
                <a:spLocks/>
              </p:cNvSpPr>
              <p:nvPr/>
            </p:nvSpPr>
            <p:spPr bwMode="auto">
              <a:xfrm>
                <a:off x="-1404" y="611"/>
                <a:ext cx="220" cy="109"/>
              </a:xfrm>
              <a:custGeom>
                <a:avLst/>
                <a:gdLst>
                  <a:gd name="T0" fmla="*/ 0 w 637"/>
                  <a:gd name="T1" fmla="*/ 59 h 333"/>
                  <a:gd name="T2" fmla="*/ 19 w 637"/>
                  <a:gd name="T3" fmla="*/ 133 h 333"/>
                  <a:gd name="T4" fmla="*/ 44 w 637"/>
                  <a:gd name="T5" fmla="*/ 183 h 333"/>
                  <a:gd name="T6" fmla="*/ 72 w 637"/>
                  <a:gd name="T7" fmla="*/ 218 h 333"/>
                  <a:gd name="T8" fmla="*/ 112 w 637"/>
                  <a:gd name="T9" fmla="*/ 258 h 333"/>
                  <a:gd name="T10" fmla="*/ 161 w 637"/>
                  <a:gd name="T11" fmla="*/ 295 h 333"/>
                  <a:gd name="T12" fmla="*/ 217 w 637"/>
                  <a:gd name="T13" fmla="*/ 318 h 333"/>
                  <a:gd name="T14" fmla="*/ 277 w 637"/>
                  <a:gd name="T15" fmla="*/ 333 h 333"/>
                  <a:gd name="T16" fmla="*/ 346 w 637"/>
                  <a:gd name="T17" fmla="*/ 333 h 333"/>
                  <a:gd name="T18" fmla="*/ 417 w 637"/>
                  <a:gd name="T19" fmla="*/ 320 h 333"/>
                  <a:gd name="T20" fmla="*/ 467 w 637"/>
                  <a:gd name="T21" fmla="*/ 296 h 333"/>
                  <a:gd name="T22" fmla="*/ 523 w 637"/>
                  <a:gd name="T23" fmla="*/ 253 h 333"/>
                  <a:gd name="T24" fmla="*/ 576 w 637"/>
                  <a:gd name="T25" fmla="*/ 196 h 333"/>
                  <a:gd name="T26" fmla="*/ 612 w 637"/>
                  <a:gd name="T27" fmla="*/ 134 h 333"/>
                  <a:gd name="T28" fmla="*/ 634 w 637"/>
                  <a:gd name="T29" fmla="*/ 54 h 333"/>
                  <a:gd name="T30" fmla="*/ 637 w 637"/>
                  <a:gd name="T31" fmla="*/ 0 h 333"/>
                  <a:gd name="T32" fmla="*/ 550 w 637"/>
                  <a:gd name="T33" fmla="*/ 6 h 333"/>
                  <a:gd name="T34" fmla="*/ 548 w 637"/>
                  <a:gd name="T35" fmla="*/ 50 h 333"/>
                  <a:gd name="T36" fmla="*/ 532 w 637"/>
                  <a:gd name="T37" fmla="*/ 94 h 333"/>
                  <a:gd name="T38" fmla="*/ 513 w 637"/>
                  <a:gd name="T39" fmla="*/ 136 h 333"/>
                  <a:gd name="T40" fmla="*/ 482 w 637"/>
                  <a:gd name="T41" fmla="*/ 174 h 333"/>
                  <a:gd name="T42" fmla="*/ 441 w 637"/>
                  <a:gd name="T43" fmla="*/ 206 h 333"/>
                  <a:gd name="T44" fmla="*/ 380 w 637"/>
                  <a:gd name="T45" fmla="*/ 236 h 333"/>
                  <a:gd name="T46" fmla="*/ 318 w 637"/>
                  <a:gd name="T47" fmla="*/ 247 h 333"/>
                  <a:gd name="T48" fmla="*/ 265 w 637"/>
                  <a:gd name="T49" fmla="*/ 240 h 333"/>
                  <a:gd name="T50" fmla="*/ 208 w 637"/>
                  <a:gd name="T51" fmla="*/ 221 h 333"/>
                  <a:gd name="T52" fmla="*/ 156 w 637"/>
                  <a:gd name="T53" fmla="*/ 183 h 333"/>
                  <a:gd name="T54" fmla="*/ 108 w 637"/>
                  <a:gd name="T55" fmla="*/ 128 h 333"/>
                  <a:gd name="T56" fmla="*/ 90 w 637"/>
                  <a:gd name="T57" fmla="*/ 84 h 333"/>
                  <a:gd name="T58" fmla="*/ 84 w 637"/>
                  <a:gd name="T59" fmla="*/ 49 h 333"/>
                  <a:gd name="T60" fmla="*/ 0 w 637"/>
                  <a:gd name="T61" fmla="*/ 5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37" h="333">
                    <a:moveTo>
                      <a:pt x="0" y="59"/>
                    </a:moveTo>
                    <a:lnTo>
                      <a:pt x="19" y="133"/>
                    </a:lnTo>
                    <a:lnTo>
                      <a:pt x="44" y="183"/>
                    </a:lnTo>
                    <a:lnTo>
                      <a:pt x="72" y="218"/>
                    </a:lnTo>
                    <a:lnTo>
                      <a:pt x="112" y="258"/>
                    </a:lnTo>
                    <a:lnTo>
                      <a:pt x="161" y="295"/>
                    </a:lnTo>
                    <a:lnTo>
                      <a:pt x="217" y="318"/>
                    </a:lnTo>
                    <a:lnTo>
                      <a:pt x="277" y="333"/>
                    </a:lnTo>
                    <a:lnTo>
                      <a:pt x="346" y="333"/>
                    </a:lnTo>
                    <a:lnTo>
                      <a:pt x="417" y="320"/>
                    </a:lnTo>
                    <a:lnTo>
                      <a:pt x="467" y="296"/>
                    </a:lnTo>
                    <a:lnTo>
                      <a:pt x="523" y="253"/>
                    </a:lnTo>
                    <a:lnTo>
                      <a:pt x="576" y="196"/>
                    </a:lnTo>
                    <a:lnTo>
                      <a:pt x="612" y="134"/>
                    </a:lnTo>
                    <a:lnTo>
                      <a:pt x="634" y="54"/>
                    </a:lnTo>
                    <a:lnTo>
                      <a:pt x="637" y="0"/>
                    </a:lnTo>
                    <a:lnTo>
                      <a:pt x="550" y="6"/>
                    </a:lnTo>
                    <a:lnTo>
                      <a:pt x="548" y="50"/>
                    </a:lnTo>
                    <a:lnTo>
                      <a:pt x="532" y="94"/>
                    </a:lnTo>
                    <a:lnTo>
                      <a:pt x="513" y="136"/>
                    </a:lnTo>
                    <a:lnTo>
                      <a:pt x="482" y="174"/>
                    </a:lnTo>
                    <a:lnTo>
                      <a:pt x="441" y="206"/>
                    </a:lnTo>
                    <a:lnTo>
                      <a:pt x="380" y="236"/>
                    </a:lnTo>
                    <a:lnTo>
                      <a:pt x="318" y="247"/>
                    </a:lnTo>
                    <a:lnTo>
                      <a:pt x="265" y="240"/>
                    </a:lnTo>
                    <a:lnTo>
                      <a:pt x="208" y="221"/>
                    </a:lnTo>
                    <a:lnTo>
                      <a:pt x="156" y="183"/>
                    </a:lnTo>
                    <a:lnTo>
                      <a:pt x="108" y="128"/>
                    </a:lnTo>
                    <a:lnTo>
                      <a:pt x="90" y="84"/>
                    </a:lnTo>
                    <a:lnTo>
                      <a:pt x="84" y="49"/>
                    </a:lnTo>
                    <a:lnTo>
                      <a:pt x="0" y="59"/>
                    </a:lnTo>
                    <a:close/>
                  </a:path>
                </a:pathLst>
              </a:custGeom>
              <a:solidFill>
                <a:srgbClr val="7F7F7F"/>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39" name="Oval 211">
                <a:extLst>
                  <a:ext uri="{FF2B5EF4-FFF2-40B4-BE49-F238E27FC236}">
                    <a16:creationId xmlns:a16="http://schemas.microsoft.com/office/drawing/2014/main" id="{7770E4C3-965E-4852-B0CF-D3ED7E222D81}"/>
                  </a:ext>
                </a:extLst>
              </p:cNvPr>
              <p:cNvSpPr>
                <a:spLocks noChangeArrowheads="1"/>
              </p:cNvSpPr>
              <p:nvPr/>
            </p:nvSpPr>
            <p:spPr bwMode="auto">
              <a:xfrm>
                <a:off x="-1209" y="600"/>
                <a:ext cx="24" cy="23"/>
              </a:xfrm>
              <a:prstGeom prst="ellipse">
                <a:avLst/>
              </a:prstGeom>
              <a:solidFill>
                <a:srgbClr val="C0C0C0"/>
              </a:solidFill>
              <a:ln w="9525">
                <a:solidFill>
                  <a:srgbClr val="000000"/>
                </a:solidFill>
                <a:round/>
                <a:headEnd/>
                <a:tailEnd/>
              </a:ln>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sp>
            <p:nvSpPr>
              <p:cNvPr id="140" name="Oval 212">
                <a:extLst>
                  <a:ext uri="{FF2B5EF4-FFF2-40B4-BE49-F238E27FC236}">
                    <a16:creationId xmlns:a16="http://schemas.microsoft.com/office/drawing/2014/main" id="{3F08E699-775F-4CC9-B96A-2EB3E709EB82}"/>
                  </a:ext>
                </a:extLst>
              </p:cNvPr>
              <p:cNvSpPr>
                <a:spLocks noChangeArrowheads="1"/>
              </p:cNvSpPr>
              <p:nvPr/>
            </p:nvSpPr>
            <p:spPr bwMode="auto">
              <a:xfrm>
                <a:off x="-1403" y="613"/>
                <a:ext cx="25" cy="23"/>
              </a:xfrm>
              <a:prstGeom prst="ellipse">
                <a:avLst/>
              </a:prstGeom>
              <a:solidFill>
                <a:srgbClr val="C0C0C0"/>
              </a:solidFill>
              <a:ln w="9525">
                <a:solidFill>
                  <a:srgbClr val="000000"/>
                </a:solidFill>
                <a:round/>
                <a:headEnd/>
                <a:tailEnd/>
              </a:ln>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sp>
            <p:nvSpPr>
              <p:cNvPr id="141" name="Oval 213">
                <a:extLst>
                  <a:ext uri="{FF2B5EF4-FFF2-40B4-BE49-F238E27FC236}">
                    <a16:creationId xmlns:a16="http://schemas.microsoft.com/office/drawing/2014/main" id="{E692A191-E232-446D-AC4D-F8FD6BFA4698}"/>
                  </a:ext>
                </a:extLst>
              </p:cNvPr>
              <p:cNvSpPr>
                <a:spLocks noChangeArrowheads="1"/>
              </p:cNvSpPr>
              <p:nvPr/>
            </p:nvSpPr>
            <p:spPr bwMode="auto">
              <a:xfrm>
                <a:off x="-1403" y="525"/>
                <a:ext cx="218" cy="195"/>
              </a:xfrm>
              <a:prstGeom prst="ellipse">
                <a:avLst/>
              </a:pr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sp>
            <p:nvSpPr>
              <p:cNvPr id="142" name="Oval 214">
                <a:extLst>
                  <a:ext uri="{FF2B5EF4-FFF2-40B4-BE49-F238E27FC236}">
                    <a16:creationId xmlns:a16="http://schemas.microsoft.com/office/drawing/2014/main" id="{79C6CB3C-EA79-4769-8092-2E121A8DB22A}"/>
                  </a:ext>
                </a:extLst>
              </p:cNvPr>
              <p:cNvSpPr>
                <a:spLocks noChangeArrowheads="1"/>
              </p:cNvSpPr>
              <p:nvPr/>
            </p:nvSpPr>
            <p:spPr bwMode="auto">
              <a:xfrm>
                <a:off x="-1379" y="548"/>
                <a:ext cx="169" cy="131"/>
              </a:xfrm>
              <a:prstGeom prst="ellipse">
                <a:avLst/>
              </a:pr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grpSp>
            <p:nvGrpSpPr>
              <p:cNvPr id="143" name="Group 215">
                <a:extLst>
                  <a:ext uri="{FF2B5EF4-FFF2-40B4-BE49-F238E27FC236}">
                    <a16:creationId xmlns:a16="http://schemas.microsoft.com/office/drawing/2014/main" id="{4AD05D8F-085D-4CB0-917A-6FC39CF56AAD}"/>
                  </a:ext>
                </a:extLst>
              </p:cNvPr>
              <p:cNvGrpSpPr>
                <a:grpSpLocks/>
              </p:cNvGrpSpPr>
              <p:nvPr/>
            </p:nvGrpSpPr>
            <p:grpSpPr bwMode="auto">
              <a:xfrm>
                <a:off x="-1143" y="681"/>
                <a:ext cx="61" cy="59"/>
                <a:chOff x="3560" y="1628"/>
                <a:chExt cx="208" cy="205"/>
              </a:xfrm>
            </p:grpSpPr>
            <p:sp>
              <p:nvSpPr>
                <p:cNvPr id="183" name="Freeform 216">
                  <a:extLst>
                    <a:ext uri="{FF2B5EF4-FFF2-40B4-BE49-F238E27FC236}">
                      <a16:creationId xmlns:a16="http://schemas.microsoft.com/office/drawing/2014/main" id="{6263EE54-D428-470D-8498-B03E155F4909}"/>
                    </a:ext>
                  </a:extLst>
                </p:cNvPr>
                <p:cNvSpPr>
                  <a:spLocks/>
                </p:cNvSpPr>
                <p:nvPr/>
              </p:nvSpPr>
              <p:spPr bwMode="auto">
                <a:xfrm>
                  <a:off x="3451" y="1627"/>
                  <a:ext cx="229" cy="208"/>
                </a:xfrm>
                <a:custGeom>
                  <a:avLst/>
                  <a:gdLst>
                    <a:gd name="T0" fmla="*/ 132 w 208"/>
                    <a:gd name="T1" fmla="*/ 205 h 205"/>
                    <a:gd name="T2" fmla="*/ 208 w 208"/>
                    <a:gd name="T3" fmla="*/ 111 h 205"/>
                    <a:gd name="T4" fmla="*/ 175 w 208"/>
                    <a:gd name="T5" fmla="*/ 109 h 205"/>
                    <a:gd name="T6" fmla="*/ 143 w 208"/>
                    <a:gd name="T7" fmla="*/ 98 h 205"/>
                    <a:gd name="T8" fmla="*/ 115 w 208"/>
                    <a:gd name="T9" fmla="*/ 80 h 205"/>
                    <a:gd name="T10" fmla="*/ 91 w 208"/>
                    <a:gd name="T11" fmla="*/ 55 h 205"/>
                    <a:gd name="T12" fmla="*/ 78 w 208"/>
                    <a:gd name="T13" fmla="*/ 33 h 205"/>
                    <a:gd name="T14" fmla="*/ 75 w 208"/>
                    <a:gd name="T15" fmla="*/ 0 h 205"/>
                    <a:gd name="T16" fmla="*/ 0 w 208"/>
                    <a:gd name="T17" fmla="*/ 101 h 205"/>
                    <a:gd name="T18" fmla="*/ 3 w 208"/>
                    <a:gd name="T19" fmla="*/ 132 h 205"/>
                    <a:gd name="T20" fmla="*/ 13 w 208"/>
                    <a:gd name="T21" fmla="*/ 155 h 205"/>
                    <a:gd name="T22" fmla="*/ 32 w 208"/>
                    <a:gd name="T23" fmla="*/ 171 h 205"/>
                    <a:gd name="T24" fmla="*/ 53 w 208"/>
                    <a:gd name="T25" fmla="*/ 185 h 205"/>
                    <a:gd name="T26" fmla="*/ 84 w 208"/>
                    <a:gd name="T27" fmla="*/ 199 h 205"/>
                    <a:gd name="T28" fmla="*/ 132 w 208"/>
                    <a:gd name="T2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205">
                      <a:moveTo>
                        <a:pt x="132" y="205"/>
                      </a:moveTo>
                      <a:lnTo>
                        <a:pt x="208" y="111"/>
                      </a:lnTo>
                      <a:lnTo>
                        <a:pt x="175" y="109"/>
                      </a:lnTo>
                      <a:lnTo>
                        <a:pt x="143" y="98"/>
                      </a:lnTo>
                      <a:lnTo>
                        <a:pt x="115" y="80"/>
                      </a:lnTo>
                      <a:lnTo>
                        <a:pt x="91" y="55"/>
                      </a:lnTo>
                      <a:lnTo>
                        <a:pt x="78" y="33"/>
                      </a:lnTo>
                      <a:lnTo>
                        <a:pt x="75" y="0"/>
                      </a:lnTo>
                      <a:lnTo>
                        <a:pt x="0" y="101"/>
                      </a:lnTo>
                      <a:lnTo>
                        <a:pt x="3" y="132"/>
                      </a:lnTo>
                      <a:lnTo>
                        <a:pt x="13" y="155"/>
                      </a:lnTo>
                      <a:lnTo>
                        <a:pt x="32" y="171"/>
                      </a:lnTo>
                      <a:lnTo>
                        <a:pt x="53" y="185"/>
                      </a:lnTo>
                      <a:lnTo>
                        <a:pt x="84" y="199"/>
                      </a:lnTo>
                      <a:lnTo>
                        <a:pt x="132" y="205"/>
                      </a:lnTo>
                      <a:close/>
                    </a:path>
                  </a:pathLst>
                </a:custGeom>
                <a:solidFill>
                  <a:srgbClr val="C0C0C0"/>
                </a:solidFill>
                <a:ln w="9525" cmpd="sng">
                  <a:solidFill>
                    <a:srgbClr val="000000"/>
                  </a:solidFill>
                  <a:prstDash val="solid"/>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84" name="Freeform 217">
                  <a:extLst>
                    <a:ext uri="{FF2B5EF4-FFF2-40B4-BE49-F238E27FC236}">
                      <a16:creationId xmlns:a16="http://schemas.microsoft.com/office/drawing/2014/main" id="{34012D27-6466-48F5-BFB4-AB8092D5FE88}"/>
                    </a:ext>
                  </a:extLst>
                </p:cNvPr>
                <p:cNvSpPr>
                  <a:spLocks/>
                </p:cNvSpPr>
                <p:nvPr/>
              </p:nvSpPr>
              <p:spPr bwMode="auto">
                <a:xfrm>
                  <a:off x="3496" y="1738"/>
                  <a:ext cx="181" cy="125"/>
                </a:xfrm>
                <a:custGeom>
                  <a:avLst/>
                  <a:gdLst>
                    <a:gd name="T0" fmla="*/ 87 w 162"/>
                    <a:gd name="T1" fmla="*/ 94 h 94"/>
                    <a:gd name="T2" fmla="*/ 162 w 162"/>
                    <a:gd name="T3" fmla="*/ 0 h 94"/>
                    <a:gd name="T4" fmla="*/ 65 w 162"/>
                    <a:gd name="T5" fmla="*/ 18 h 94"/>
                    <a:gd name="T6" fmla="*/ 31 w 162"/>
                    <a:gd name="T7" fmla="*/ 26 h 94"/>
                    <a:gd name="T8" fmla="*/ 0 w 162"/>
                    <a:gd name="T9" fmla="*/ 69 h 94"/>
                    <a:gd name="T10" fmla="*/ 15 w 162"/>
                    <a:gd name="T11" fmla="*/ 78 h 94"/>
                    <a:gd name="T12" fmla="*/ 35 w 162"/>
                    <a:gd name="T13" fmla="*/ 87 h 94"/>
                    <a:gd name="T14" fmla="*/ 59 w 162"/>
                    <a:gd name="T15" fmla="*/ 93 h 94"/>
                    <a:gd name="T16" fmla="*/ 87 w 162"/>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94">
                      <a:moveTo>
                        <a:pt x="87" y="94"/>
                      </a:moveTo>
                      <a:lnTo>
                        <a:pt x="162" y="0"/>
                      </a:lnTo>
                      <a:lnTo>
                        <a:pt x="65" y="18"/>
                      </a:lnTo>
                      <a:lnTo>
                        <a:pt x="31" y="26"/>
                      </a:lnTo>
                      <a:lnTo>
                        <a:pt x="0" y="69"/>
                      </a:lnTo>
                      <a:lnTo>
                        <a:pt x="15" y="78"/>
                      </a:lnTo>
                      <a:lnTo>
                        <a:pt x="35" y="87"/>
                      </a:lnTo>
                      <a:lnTo>
                        <a:pt x="59" y="93"/>
                      </a:lnTo>
                      <a:lnTo>
                        <a:pt x="87" y="94"/>
                      </a:lnTo>
                      <a:close/>
                    </a:path>
                  </a:pathLst>
                </a:custGeom>
                <a:solidFill>
                  <a:srgbClr val="3F3F3F"/>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grpSp>
          <p:grpSp>
            <p:nvGrpSpPr>
              <p:cNvPr id="144" name="Group 218">
                <a:extLst>
                  <a:ext uri="{FF2B5EF4-FFF2-40B4-BE49-F238E27FC236}">
                    <a16:creationId xmlns:a16="http://schemas.microsoft.com/office/drawing/2014/main" id="{8FB0500D-0CF7-4947-9295-A444676CE095}"/>
                  </a:ext>
                </a:extLst>
              </p:cNvPr>
              <p:cNvGrpSpPr>
                <a:grpSpLocks/>
              </p:cNvGrpSpPr>
              <p:nvPr/>
            </p:nvGrpSpPr>
            <p:grpSpPr bwMode="auto">
              <a:xfrm>
                <a:off x="-1143" y="681"/>
                <a:ext cx="62" cy="59"/>
                <a:chOff x="3560" y="1628"/>
                <a:chExt cx="211" cy="205"/>
              </a:xfrm>
            </p:grpSpPr>
            <p:grpSp>
              <p:nvGrpSpPr>
                <p:cNvPr id="174" name="Group 219">
                  <a:extLst>
                    <a:ext uri="{FF2B5EF4-FFF2-40B4-BE49-F238E27FC236}">
                      <a16:creationId xmlns:a16="http://schemas.microsoft.com/office/drawing/2014/main" id="{7545F88B-4E38-4BA8-A40B-FEBDE5C79879}"/>
                    </a:ext>
                  </a:extLst>
                </p:cNvPr>
                <p:cNvGrpSpPr>
                  <a:grpSpLocks/>
                </p:cNvGrpSpPr>
                <p:nvPr/>
              </p:nvGrpSpPr>
              <p:grpSpPr bwMode="auto">
                <a:xfrm>
                  <a:off x="3560" y="1628"/>
                  <a:ext cx="208" cy="205"/>
                  <a:chOff x="3560" y="1628"/>
                  <a:chExt cx="208" cy="205"/>
                </a:xfrm>
              </p:grpSpPr>
              <p:sp>
                <p:nvSpPr>
                  <p:cNvPr id="181" name="Freeform 220">
                    <a:extLst>
                      <a:ext uri="{FF2B5EF4-FFF2-40B4-BE49-F238E27FC236}">
                        <a16:creationId xmlns:a16="http://schemas.microsoft.com/office/drawing/2014/main" id="{FC5D1AD5-E3F7-42DC-A07F-679D5542B4CE}"/>
                      </a:ext>
                    </a:extLst>
                  </p:cNvPr>
                  <p:cNvSpPr>
                    <a:spLocks/>
                  </p:cNvSpPr>
                  <p:nvPr/>
                </p:nvSpPr>
                <p:spPr bwMode="auto">
                  <a:xfrm>
                    <a:off x="3452" y="1627"/>
                    <a:ext cx="208" cy="208"/>
                  </a:xfrm>
                  <a:custGeom>
                    <a:avLst/>
                    <a:gdLst>
                      <a:gd name="T0" fmla="*/ 75 w 208"/>
                      <a:gd name="T1" fmla="*/ 0 h 205"/>
                      <a:gd name="T2" fmla="*/ 0 w 208"/>
                      <a:gd name="T3" fmla="*/ 96 h 205"/>
                      <a:gd name="T4" fmla="*/ 32 w 208"/>
                      <a:gd name="T5" fmla="*/ 98 h 205"/>
                      <a:gd name="T6" fmla="*/ 65 w 208"/>
                      <a:gd name="T7" fmla="*/ 109 h 205"/>
                      <a:gd name="T8" fmla="*/ 93 w 208"/>
                      <a:gd name="T9" fmla="*/ 127 h 205"/>
                      <a:gd name="T10" fmla="*/ 116 w 208"/>
                      <a:gd name="T11" fmla="*/ 152 h 205"/>
                      <a:gd name="T12" fmla="*/ 130 w 208"/>
                      <a:gd name="T13" fmla="*/ 174 h 205"/>
                      <a:gd name="T14" fmla="*/ 132 w 208"/>
                      <a:gd name="T15" fmla="*/ 205 h 205"/>
                      <a:gd name="T16" fmla="*/ 208 w 208"/>
                      <a:gd name="T17" fmla="*/ 106 h 205"/>
                      <a:gd name="T18" fmla="*/ 205 w 208"/>
                      <a:gd name="T19" fmla="*/ 76 h 205"/>
                      <a:gd name="T20" fmla="*/ 194 w 208"/>
                      <a:gd name="T21" fmla="*/ 52 h 205"/>
                      <a:gd name="T22" fmla="*/ 175 w 208"/>
                      <a:gd name="T23" fmla="*/ 36 h 205"/>
                      <a:gd name="T24" fmla="*/ 155 w 208"/>
                      <a:gd name="T25" fmla="*/ 21 h 205"/>
                      <a:gd name="T26" fmla="*/ 124 w 208"/>
                      <a:gd name="T27" fmla="*/ 6 h 205"/>
                      <a:gd name="T28" fmla="*/ 75 w 208"/>
                      <a:gd name="T2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205">
                        <a:moveTo>
                          <a:pt x="75" y="0"/>
                        </a:moveTo>
                        <a:lnTo>
                          <a:pt x="0" y="96"/>
                        </a:lnTo>
                        <a:lnTo>
                          <a:pt x="32" y="98"/>
                        </a:lnTo>
                        <a:lnTo>
                          <a:pt x="65" y="109"/>
                        </a:lnTo>
                        <a:lnTo>
                          <a:pt x="93" y="127"/>
                        </a:lnTo>
                        <a:lnTo>
                          <a:pt x="116" y="152"/>
                        </a:lnTo>
                        <a:lnTo>
                          <a:pt x="130" y="174"/>
                        </a:lnTo>
                        <a:lnTo>
                          <a:pt x="132" y="205"/>
                        </a:lnTo>
                        <a:lnTo>
                          <a:pt x="208" y="106"/>
                        </a:lnTo>
                        <a:lnTo>
                          <a:pt x="205" y="76"/>
                        </a:lnTo>
                        <a:lnTo>
                          <a:pt x="194" y="52"/>
                        </a:lnTo>
                        <a:lnTo>
                          <a:pt x="175" y="36"/>
                        </a:lnTo>
                        <a:lnTo>
                          <a:pt x="155" y="21"/>
                        </a:lnTo>
                        <a:lnTo>
                          <a:pt x="124" y="6"/>
                        </a:lnTo>
                        <a:lnTo>
                          <a:pt x="75" y="0"/>
                        </a:lnTo>
                        <a:close/>
                      </a:path>
                    </a:pathLst>
                  </a:custGeom>
                  <a:solidFill>
                    <a:srgbClr val="C0C0C0"/>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82" name="Freeform 221">
                    <a:extLst>
                      <a:ext uri="{FF2B5EF4-FFF2-40B4-BE49-F238E27FC236}">
                        <a16:creationId xmlns:a16="http://schemas.microsoft.com/office/drawing/2014/main" id="{B51C57F9-3173-4B0B-AD07-0ECF0FF494DA}"/>
                      </a:ext>
                    </a:extLst>
                  </p:cNvPr>
                  <p:cNvSpPr>
                    <a:spLocks/>
                  </p:cNvSpPr>
                  <p:nvPr/>
                </p:nvSpPr>
                <p:spPr bwMode="auto">
                  <a:xfrm>
                    <a:off x="3554" y="1665"/>
                    <a:ext cx="109" cy="170"/>
                  </a:xfrm>
                  <a:custGeom>
                    <a:avLst/>
                    <a:gdLst>
                      <a:gd name="T0" fmla="*/ 0 w 105"/>
                      <a:gd name="T1" fmla="*/ 97 h 169"/>
                      <a:gd name="T2" fmla="*/ 13 w 105"/>
                      <a:gd name="T3" fmla="*/ 116 h 169"/>
                      <a:gd name="T4" fmla="*/ 27 w 105"/>
                      <a:gd name="T5" fmla="*/ 138 h 169"/>
                      <a:gd name="T6" fmla="*/ 29 w 105"/>
                      <a:gd name="T7" fmla="*/ 169 h 169"/>
                      <a:gd name="T8" fmla="*/ 105 w 105"/>
                      <a:gd name="T9" fmla="*/ 70 h 169"/>
                      <a:gd name="T10" fmla="*/ 102 w 105"/>
                      <a:gd name="T11" fmla="*/ 40 h 169"/>
                      <a:gd name="T12" fmla="*/ 91 w 105"/>
                      <a:gd name="T13" fmla="*/ 16 h 169"/>
                      <a:gd name="T14" fmla="*/ 72 w 105"/>
                      <a:gd name="T15" fmla="*/ 0 h 169"/>
                      <a:gd name="T16" fmla="*/ 0 w 105"/>
                      <a:gd name="T17" fmla="*/ 9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69">
                        <a:moveTo>
                          <a:pt x="0" y="97"/>
                        </a:moveTo>
                        <a:lnTo>
                          <a:pt x="13" y="116"/>
                        </a:lnTo>
                        <a:lnTo>
                          <a:pt x="27" y="138"/>
                        </a:lnTo>
                        <a:lnTo>
                          <a:pt x="29" y="169"/>
                        </a:lnTo>
                        <a:lnTo>
                          <a:pt x="105" y="70"/>
                        </a:lnTo>
                        <a:lnTo>
                          <a:pt x="102" y="40"/>
                        </a:lnTo>
                        <a:lnTo>
                          <a:pt x="91" y="16"/>
                        </a:lnTo>
                        <a:lnTo>
                          <a:pt x="72" y="0"/>
                        </a:lnTo>
                        <a:lnTo>
                          <a:pt x="0" y="97"/>
                        </a:lnTo>
                        <a:close/>
                      </a:path>
                    </a:pathLst>
                  </a:custGeom>
                  <a:solidFill>
                    <a:srgbClr val="5F5F5F"/>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grpSp>
            <p:grpSp>
              <p:nvGrpSpPr>
                <p:cNvPr id="175" name="Group 222">
                  <a:extLst>
                    <a:ext uri="{FF2B5EF4-FFF2-40B4-BE49-F238E27FC236}">
                      <a16:creationId xmlns:a16="http://schemas.microsoft.com/office/drawing/2014/main" id="{CCE85E85-C74D-4AAF-BEFB-7F3E036078DA}"/>
                    </a:ext>
                  </a:extLst>
                </p:cNvPr>
                <p:cNvGrpSpPr>
                  <a:grpSpLocks/>
                </p:cNvGrpSpPr>
                <p:nvPr/>
              </p:nvGrpSpPr>
              <p:grpSpPr bwMode="auto">
                <a:xfrm>
                  <a:off x="3563" y="1628"/>
                  <a:ext cx="208" cy="202"/>
                  <a:chOff x="3563" y="1628"/>
                  <a:chExt cx="208" cy="202"/>
                </a:xfrm>
              </p:grpSpPr>
              <p:sp>
                <p:nvSpPr>
                  <p:cNvPr id="176" name="Arc 223">
                    <a:extLst>
                      <a:ext uri="{FF2B5EF4-FFF2-40B4-BE49-F238E27FC236}">
                        <a16:creationId xmlns:a16="http://schemas.microsoft.com/office/drawing/2014/main" id="{A4397095-4829-449C-BD11-231BEAAB0B02}"/>
                      </a:ext>
                    </a:extLst>
                  </p:cNvPr>
                  <p:cNvSpPr>
                    <a:spLocks/>
                  </p:cNvSpPr>
                  <p:nvPr/>
                </p:nvSpPr>
                <p:spPr bwMode="auto">
                  <a:xfrm>
                    <a:off x="3455" y="1724"/>
                    <a:ext cx="150" cy="101"/>
                  </a:xfrm>
                  <a:custGeom>
                    <a:avLst/>
                    <a:gdLst>
                      <a:gd name="G0" fmla="+- 0 0 0"/>
                      <a:gd name="G1" fmla="+- 21599 0 0"/>
                      <a:gd name="G2" fmla="+- 21600 0 0"/>
                      <a:gd name="T0" fmla="*/ 162 w 21599"/>
                      <a:gd name="T1" fmla="*/ 0 h 21599"/>
                      <a:gd name="T2" fmla="*/ 21599 w 21599"/>
                      <a:gd name="T3" fmla="*/ 21392 h 21599"/>
                      <a:gd name="T4" fmla="*/ 0 w 21599"/>
                      <a:gd name="T5" fmla="*/ 21599 h 21599"/>
                    </a:gdLst>
                    <a:ahLst/>
                    <a:cxnLst>
                      <a:cxn ang="0">
                        <a:pos x="T0" y="T1"/>
                      </a:cxn>
                      <a:cxn ang="0">
                        <a:pos x="T2" y="T3"/>
                      </a:cxn>
                      <a:cxn ang="0">
                        <a:pos x="T4" y="T5"/>
                      </a:cxn>
                    </a:cxnLst>
                    <a:rect l="0" t="0" r="r" b="b"/>
                    <a:pathLst>
                      <a:path w="21599" h="21599" fill="none" extrusionOk="0">
                        <a:moveTo>
                          <a:pt x="162" y="-1"/>
                        </a:moveTo>
                        <a:cubicBezTo>
                          <a:pt x="11947" y="88"/>
                          <a:pt x="21486" y="9607"/>
                          <a:pt x="21599" y="21391"/>
                        </a:cubicBezTo>
                      </a:path>
                      <a:path w="21599" h="21599" stroke="0" extrusionOk="0">
                        <a:moveTo>
                          <a:pt x="162" y="-1"/>
                        </a:moveTo>
                        <a:cubicBezTo>
                          <a:pt x="11947" y="88"/>
                          <a:pt x="21486" y="9607"/>
                          <a:pt x="21599" y="21391"/>
                        </a:cubicBezTo>
                        <a:lnTo>
                          <a:pt x="0" y="21599"/>
                        </a:lnTo>
                        <a:close/>
                      </a:path>
                    </a:pathLst>
                  </a:cu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grpSp>
                <p:nvGrpSpPr>
                  <p:cNvPr id="177" name="Group 224">
                    <a:extLst>
                      <a:ext uri="{FF2B5EF4-FFF2-40B4-BE49-F238E27FC236}">
                        <a16:creationId xmlns:a16="http://schemas.microsoft.com/office/drawing/2014/main" id="{DBD90CB0-465C-40F8-A2D6-4BE816F94B6D}"/>
                      </a:ext>
                    </a:extLst>
                  </p:cNvPr>
                  <p:cNvGrpSpPr>
                    <a:grpSpLocks/>
                  </p:cNvGrpSpPr>
                  <p:nvPr/>
                </p:nvGrpSpPr>
                <p:grpSpPr bwMode="auto">
                  <a:xfrm>
                    <a:off x="3563" y="1628"/>
                    <a:ext cx="208" cy="107"/>
                    <a:chOff x="3563" y="1628"/>
                    <a:chExt cx="208" cy="107"/>
                  </a:xfrm>
                </p:grpSpPr>
                <p:sp>
                  <p:nvSpPr>
                    <p:cNvPr id="179" name="Arc 225">
                      <a:extLst>
                        <a:ext uri="{FF2B5EF4-FFF2-40B4-BE49-F238E27FC236}">
                          <a16:creationId xmlns:a16="http://schemas.microsoft.com/office/drawing/2014/main" id="{784F4C57-596F-47A0-864F-3A47BD6BF49F}"/>
                        </a:ext>
                      </a:extLst>
                    </p:cNvPr>
                    <p:cNvSpPr>
                      <a:spLocks/>
                    </p:cNvSpPr>
                    <p:nvPr/>
                  </p:nvSpPr>
                  <p:spPr bwMode="auto">
                    <a:xfrm>
                      <a:off x="3633" y="1630"/>
                      <a:ext cx="133" cy="104"/>
                    </a:xfrm>
                    <a:custGeom>
                      <a:avLst/>
                      <a:gdLst>
                        <a:gd name="G0" fmla="+- 0 0 0"/>
                        <a:gd name="G1" fmla="+- 21599 0 0"/>
                        <a:gd name="G2" fmla="+- 21600 0 0"/>
                        <a:gd name="T0" fmla="*/ 160 w 21599"/>
                        <a:gd name="T1" fmla="*/ 0 h 21599"/>
                        <a:gd name="T2" fmla="*/ 21599 w 21599"/>
                        <a:gd name="T3" fmla="*/ 21391 h 21599"/>
                        <a:gd name="T4" fmla="*/ 0 w 21599"/>
                        <a:gd name="T5" fmla="*/ 21599 h 21599"/>
                      </a:gdLst>
                      <a:ahLst/>
                      <a:cxnLst>
                        <a:cxn ang="0">
                          <a:pos x="T0" y="T1"/>
                        </a:cxn>
                        <a:cxn ang="0">
                          <a:pos x="T2" y="T3"/>
                        </a:cxn>
                        <a:cxn ang="0">
                          <a:pos x="T4" y="T5"/>
                        </a:cxn>
                      </a:cxnLst>
                      <a:rect l="0" t="0" r="r" b="b"/>
                      <a:pathLst>
                        <a:path w="21599" h="21599" fill="none" extrusionOk="0">
                          <a:moveTo>
                            <a:pt x="160" y="-1"/>
                          </a:moveTo>
                          <a:cubicBezTo>
                            <a:pt x="11945" y="86"/>
                            <a:pt x="21485" y="9605"/>
                            <a:pt x="21598" y="21391"/>
                          </a:cubicBezTo>
                        </a:path>
                        <a:path w="21599" h="21599" stroke="0" extrusionOk="0">
                          <a:moveTo>
                            <a:pt x="160" y="-1"/>
                          </a:moveTo>
                          <a:cubicBezTo>
                            <a:pt x="11945" y="86"/>
                            <a:pt x="21485" y="9605"/>
                            <a:pt x="21598" y="21391"/>
                          </a:cubicBezTo>
                          <a:lnTo>
                            <a:pt x="0" y="21599"/>
                          </a:lnTo>
                          <a:close/>
                        </a:path>
                      </a:pathLst>
                    </a:cu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80" name="Line 226">
                      <a:extLst>
                        <a:ext uri="{FF2B5EF4-FFF2-40B4-BE49-F238E27FC236}">
                          <a16:creationId xmlns:a16="http://schemas.microsoft.com/office/drawing/2014/main" id="{B0523F4D-3FDA-4228-8C95-862D6FD383DB}"/>
                        </a:ext>
                      </a:extLst>
                    </p:cNvPr>
                    <p:cNvSpPr>
                      <a:spLocks noChangeShapeType="1"/>
                    </p:cNvSpPr>
                    <p:nvPr/>
                  </p:nvSpPr>
                  <p:spPr bwMode="auto">
                    <a:xfrm flipH="1">
                      <a:off x="3455" y="1627"/>
                      <a:ext cx="75" cy="97"/>
                    </a:xfrm>
                    <a:prstGeom prst="line">
                      <a:avLst/>
                    </a:pr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grpSp>
              <p:sp>
                <p:nvSpPr>
                  <p:cNvPr id="178" name="Line 227">
                    <a:extLst>
                      <a:ext uri="{FF2B5EF4-FFF2-40B4-BE49-F238E27FC236}">
                        <a16:creationId xmlns:a16="http://schemas.microsoft.com/office/drawing/2014/main" id="{504F24DE-FE07-4E71-AC97-00A4193F8DD2}"/>
                      </a:ext>
                    </a:extLst>
                  </p:cNvPr>
                  <p:cNvSpPr>
                    <a:spLocks noChangeShapeType="1"/>
                  </p:cNvSpPr>
                  <p:nvPr/>
                </p:nvSpPr>
                <p:spPr bwMode="auto">
                  <a:xfrm flipH="1">
                    <a:off x="3691" y="1738"/>
                    <a:ext cx="75" cy="94"/>
                  </a:xfrm>
                  <a:prstGeom prst="line">
                    <a:avLst/>
                  </a:pr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grpSp>
          </p:grpSp>
          <p:grpSp>
            <p:nvGrpSpPr>
              <p:cNvPr id="145" name="Group 228">
                <a:extLst>
                  <a:ext uri="{FF2B5EF4-FFF2-40B4-BE49-F238E27FC236}">
                    <a16:creationId xmlns:a16="http://schemas.microsoft.com/office/drawing/2014/main" id="{216D3AFB-072F-46FD-A947-B7B5B3A18745}"/>
                  </a:ext>
                </a:extLst>
              </p:cNvPr>
              <p:cNvGrpSpPr>
                <a:grpSpLocks/>
              </p:cNvGrpSpPr>
              <p:nvPr/>
            </p:nvGrpSpPr>
            <p:grpSpPr bwMode="auto">
              <a:xfrm>
                <a:off x="-1158" y="715"/>
                <a:ext cx="49" cy="43"/>
                <a:chOff x="3510" y="1746"/>
                <a:chExt cx="165" cy="153"/>
              </a:xfrm>
            </p:grpSpPr>
            <p:sp>
              <p:nvSpPr>
                <p:cNvPr id="172" name="Freeform 229">
                  <a:extLst>
                    <a:ext uri="{FF2B5EF4-FFF2-40B4-BE49-F238E27FC236}">
                      <a16:creationId xmlns:a16="http://schemas.microsoft.com/office/drawing/2014/main" id="{896666C1-A2DB-457D-BA00-737D223F792D}"/>
                    </a:ext>
                  </a:extLst>
                </p:cNvPr>
                <p:cNvSpPr>
                  <a:spLocks/>
                </p:cNvSpPr>
                <p:nvPr/>
              </p:nvSpPr>
              <p:spPr bwMode="auto">
                <a:xfrm>
                  <a:off x="3511" y="1759"/>
                  <a:ext cx="159" cy="153"/>
                </a:xfrm>
                <a:custGeom>
                  <a:avLst/>
                  <a:gdLst>
                    <a:gd name="T0" fmla="*/ 62 w 165"/>
                    <a:gd name="T1" fmla="*/ 0 h 153"/>
                    <a:gd name="T2" fmla="*/ 3 w 165"/>
                    <a:gd name="T3" fmla="*/ 71 h 153"/>
                    <a:gd name="T4" fmla="*/ 0 w 165"/>
                    <a:gd name="T5" fmla="*/ 84 h 153"/>
                    <a:gd name="T6" fmla="*/ 1 w 165"/>
                    <a:gd name="T7" fmla="*/ 93 h 153"/>
                    <a:gd name="T8" fmla="*/ 3 w 165"/>
                    <a:gd name="T9" fmla="*/ 105 h 153"/>
                    <a:gd name="T10" fmla="*/ 14 w 165"/>
                    <a:gd name="T11" fmla="*/ 118 h 153"/>
                    <a:gd name="T12" fmla="*/ 28 w 165"/>
                    <a:gd name="T13" fmla="*/ 130 h 153"/>
                    <a:gd name="T14" fmla="*/ 45 w 165"/>
                    <a:gd name="T15" fmla="*/ 140 h 153"/>
                    <a:gd name="T16" fmla="*/ 62 w 165"/>
                    <a:gd name="T17" fmla="*/ 146 h 153"/>
                    <a:gd name="T18" fmla="*/ 84 w 165"/>
                    <a:gd name="T19" fmla="*/ 153 h 153"/>
                    <a:gd name="T20" fmla="*/ 106 w 165"/>
                    <a:gd name="T21" fmla="*/ 153 h 153"/>
                    <a:gd name="T22" fmla="*/ 165 w 165"/>
                    <a:gd name="T23" fmla="*/ 78 h 153"/>
                    <a:gd name="T24" fmla="*/ 160 w 165"/>
                    <a:gd name="T25" fmla="*/ 56 h 153"/>
                    <a:gd name="T26" fmla="*/ 152 w 165"/>
                    <a:gd name="T27" fmla="*/ 39 h 153"/>
                    <a:gd name="T28" fmla="*/ 138 w 165"/>
                    <a:gd name="T29" fmla="*/ 25 h 153"/>
                    <a:gd name="T30" fmla="*/ 124 w 165"/>
                    <a:gd name="T31" fmla="*/ 15 h 153"/>
                    <a:gd name="T32" fmla="*/ 110 w 165"/>
                    <a:gd name="T33" fmla="*/ 8 h 153"/>
                    <a:gd name="T34" fmla="*/ 82 w 165"/>
                    <a:gd name="T35" fmla="*/ 0 h 153"/>
                    <a:gd name="T36" fmla="*/ 62 w 165"/>
                    <a:gd name="T37"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 h="153">
                      <a:moveTo>
                        <a:pt x="62" y="0"/>
                      </a:moveTo>
                      <a:lnTo>
                        <a:pt x="3" y="71"/>
                      </a:lnTo>
                      <a:lnTo>
                        <a:pt x="0" y="84"/>
                      </a:lnTo>
                      <a:lnTo>
                        <a:pt x="1" y="93"/>
                      </a:lnTo>
                      <a:lnTo>
                        <a:pt x="3" y="105"/>
                      </a:lnTo>
                      <a:lnTo>
                        <a:pt x="14" y="118"/>
                      </a:lnTo>
                      <a:lnTo>
                        <a:pt x="28" y="130"/>
                      </a:lnTo>
                      <a:lnTo>
                        <a:pt x="45" y="140"/>
                      </a:lnTo>
                      <a:lnTo>
                        <a:pt x="62" y="146"/>
                      </a:lnTo>
                      <a:lnTo>
                        <a:pt x="84" y="153"/>
                      </a:lnTo>
                      <a:lnTo>
                        <a:pt x="106" y="153"/>
                      </a:lnTo>
                      <a:lnTo>
                        <a:pt x="165" y="78"/>
                      </a:lnTo>
                      <a:lnTo>
                        <a:pt x="160" y="56"/>
                      </a:lnTo>
                      <a:lnTo>
                        <a:pt x="152" y="39"/>
                      </a:lnTo>
                      <a:lnTo>
                        <a:pt x="138" y="25"/>
                      </a:lnTo>
                      <a:lnTo>
                        <a:pt x="124" y="15"/>
                      </a:lnTo>
                      <a:lnTo>
                        <a:pt x="110" y="8"/>
                      </a:lnTo>
                      <a:lnTo>
                        <a:pt x="82" y="0"/>
                      </a:lnTo>
                      <a:lnTo>
                        <a:pt x="62" y="0"/>
                      </a:lnTo>
                      <a:close/>
                    </a:path>
                  </a:pathLst>
                </a:custGeom>
                <a:solidFill>
                  <a:srgbClr val="C0C0C0"/>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73" name="Freeform 230">
                  <a:extLst>
                    <a:ext uri="{FF2B5EF4-FFF2-40B4-BE49-F238E27FC236}">
                      <a16:creationId xmlns:a16="http://schemas.microsoft.com/office/drawing/2014/main" id="{7639F770-780A-4524-810D-6633F03C9740}"/>
                    </a:ext>
                  </a:extLst>
                </p:cNvPr>
                <p:cNvSpPr>
                  <a:spLocks/>
                </p:cNvSpPr>
                <p:nvPr/>
              </p:nvSpPr>
              <p:spPr bwMode="auto">
                <a:xfrm>
                  <a:off x="3551" y="1759"/>
                  <a:ext cx="112" cy="139"/>
                </a:xfrm>
                <a:custGeom>
                  <a:avLst/>
                  <a:gdLst>
                    <a:gd name="T0" fmla="*/ 0 w 125"/>
                    <a:gd name="T1" fmla="*/ 121 h 137"/>
                    <a:gd name="T2" fmla="*/ 22 w 125"/>
                    <a:gd name="T3" fmla="*/ 130 h 137"/>
                    <a:gd name="T4" fmla="*/ 44 w 125"/>
                    <a:gd name="T5" fmla="*/ 137 h 137"/>
                    <a:gd name="T6" fmla="*/ 66 w 125"/>
                    <a:gd name="T7" fmla="*/ 137 h 137"/>
                    <a:gd name="T8" fmla="*/ 125 w 125"/>
                    <a:gd name="T9" fmla="*/ 62 h 137"/>
                    <a:gd name="T10" fmla="*/ 120 w 125"/>
                    <a:gd name="T11" fmla="*/ 40 h 137"/>
                    <a:gd name="T12" fmla="*/ 112 w 125"/>
                    <a:gd name="T13" fmla="*/ 22 h 137"/>
                    <a:gd name="T14" fmla="*/ 89 w 125"/>
                    <a:gd name="T15" fmla="*/ 0 h 137"/>
                    <a:gd name="T16" fmla="*/ 0 w 125"/>
                    <a:gd name="T17" fmla="*/ 12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137">
                      <a:moveTo>
                        <a:pt x="0" y="121"/>
                      </a:moveTo>
                      <a:lnTo>
                        <a:pt x="22" y="130"/>
                      </a:lnTo>
                      <a:lnTo>
                        <a:pt x="44" y="137"/>
                      </a:lnTo>
                      <a:lnTo>
                        <a:pt x="66" y="137"/>
                      </a:lnTo>
                      <a:lnTo>
                        <a:pt x="125" y="62"/>
                      </a:lnTo>
                      <a:lnTo>
                        <a:pt x="120" y="40"/>
                      </a:lnTo>
                      <a:lnTo>
                        <a:pt x="112" y="22"/>
                      </a:lnTo>
                      <a:lnTo>
                        <a:pt x="89" y="0"/>
                      </a:lnTo>
                      <a:lnTo>
                        <a:pt x="0" y="121"/>
                      </a:lnTo>
                      <a:close/>
                    </a:path>
                  </a:pathLst>
                </a:custGeom>
                <a:solidFill>
                  <a:srgbClr val="5F5F5F"/>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grpSp>
          <p:sp>
            <p:nvSpPr>
              <p:cNvPr id="146" name="Arc 231">
                <a:extLst>
                  <a:ext uri="{FF2B5EF4-FFF2-40B4-BE49-F238E27FC236}">
                    <a16:creationId xmlns:a16="http://schemas.microsoft.com/office/drawing/2014/main" id="{9A8586C7-E33C-4152-96E1-F220904124B3}"/>
                  </a:ext>
                </a:extLst>
              </p:cNvPr>
              <p:cNvSpPr>
                <a:spLocks/>
              </p:cNvSpPr>
              <p:nvPr/>
            </p:nvSpPr>
            <p:spPr bwMode="auto">
              <a:xfrm>
                <a:off x="-1146" y="725"/>
                <a:ext cx="5" cy="23"/>
              </a:xfrm>
              <a:custGeom>
                <a:avLst/>
                <a:gdLst>
                  <a:gd name="G0" fmla="+- 0 0 0"/>
                  <a:gd name="G1" fmla="+- 21599 0 0"/>
                  <a:gd name="G2" fmla="+- 21600 0 0"/>
                  <a:gd name="T0" fmla="*/ 213 w 21600"/>
                  <a:gd name="T1" fmla="*/ 0 h 21599"/>
                  <a:gd name="T2" fmla="*/ 21600 w 21600"/>
                  <a:gd name="T3" fmla="*/ 21599 h 21599"/>
                  <a:gd name="T4" fmla="*/ 0 w 21600"/>
                  <a:gd name="T5" fmla="*/ 21599 h 21599"/>
                </a:gdLst>
                <a:ahLst/>
                <a:cxnLst>
                  <a:cxn ang="0">
                    <a:pos x="T0" y="T1"/>
                  </a:cxn>
                  <a:cxn ang="0">
                    <a:pos x="T2" y="T3"/>
                  </a:cxn>
                  <a:cxn ang="0">
                    <a:pos x="T4" y="T5"/>
                  </a:cxn>
                </a:cxnLst>
                <a:rect l="0" t="0" r="r" b="b"/>
                <a:pathLst>
                  <a:path w="21600" h="21599" fill="none" extrusionOk="0">
                    <a:moveTo>
                      <a:pt x="212" y="0"/>
                    </a:moveTo>
                    <a:cubicBezTo>
                      <a:pt x="12058" y="116"/>
                      <a:pt x="21600" y="9752"/>
                      <a:pt x="21600" y="21599"/>
                    </a:cubicBezTo>
                  </a:path>
                  <a:path w="21600" h="21599" stroke="0" extrusionOk="0">
                    <a:moveTo>
                      <a:pt x="212" y="0"/>
                    </a:moveTo>
                    <a:cubicBezTo>
                      <a:pt x="12058" y="116"/>
                      <a:pt x="21600" y="9752"/>
                      <a:pt x="21600" y="21599"/>
                    </a:cubicBezTo>
                    <a:lnTo>
                      <a:pt x="0" y="21599"/>
                    </a:lnTo>
                    <a:close/>
                  </a:path>
                </a:pathLst>
              </a:cu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47" name="Line 232">
                <a:extLst>
                  <a:ext uri="{FF2B5EF4-FFF2-40B4-BE49-F238E27FC236}">
                    <a16:creationId xmlns:a16="http://schemas.microsoft.com/office/drawing/2014/main" id="{41048A35-F98F-4501-B508-896BC2ABEC96}"/>
                  </a:ext>
                </a:extLst>
              </p:cNvPr>
              <p:cNvSpPr>
                <a:spLocks noChangeShapeType="1"/>
              </p:cNvSpPr>
              <p:nvPr/>
            </p:nvSpPr>
            <p:spPr bwMode="auto">
              <a:xfrm flipH="1">
                <a:off x="-1157" y="725"/>
                <a:ext cx="11" cy="20"/>
              </a:xfrm>
              <a:prstGeom prst="line">
                <a:avLst/>
              </a:pr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48" name="Line 233">
                <a:extLst>
                  <a:ext uri="{FF2B5EF4-FFF2-40B4-BE49-F238E27FC236}">
                    <a16:creationId xmlns:a16="http://schemas.microsoft.com/office/drawing/2014/main" id="{F628A889-1CA9-4F09-B7C8-2CEAB104C54A}"/>
                  </a:ext>
                </a:extLst>
              </p:cNvPr>
              <p:cNvSpPr>
                <a:spLocks noChangeShapeType="1"/>
              </p:cNvSpPr>
              <p:nvPr/>
            </p:nvSpPr>
            <p:spPr bwMode="auto">
              <a:xfrm flipH="1">
                <a:off x="-1146" y="737"/>
                <a:ext cx="5" cy="21"/>
              </a:xfrm>
              <a:prstGeom prst="line">
                <a:avLst/>
              </a:pr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49" name="Arc 234">
                <a:extLst>
                  <a:ext uri="{FF2B5EF4-FFF2-40B4-BE49-F238E27FC236}">
                    <a16:creationId xmlns:a16="http://schemas.microsoft.com/office/drawing/2014/main" id="{08C8EC70-3A48-4BA5-91AA-A9D8E208A07B}"/>
                  </a:ext>
                </a:extLst>
              </p:cNvPr>
              <p:cNvSpPr>
                <a:spLocks/>
              </p:cNvSpPr>
              <p:nvPr/>
            </p:nvSpPr>
            <p:spPr bwMode="auto">
              <a:xfrm>
                <a:off x="-1158" y="737"/>
                <a:ext cx="12" cy="23"/>
              </a:xfrm>
              <a:custGeom>
                <a:avLst/>
                <a:gdLst>
                  <a:gd name="G0" fmla="+- 21600 0 0"/>
                  <a:gd name="G1" fmla="+- 270 0 0"/>
                  <a:gd name="G2" fmla="+- 21600 0 0"/>
                  <a:gd name="T0" fmla="*/ 21820 w 21820"/>
                  <a:gd name="T1" fmla="*/ 21869 h 21870"/>
                  <a:gd name="T2" fmla="*/ 2 w 21820"/>
                  <a:gd name="T3" fmla="*/ 0 h 21870"/>
                  <a:gd name="T4" fmla="*/ 21600 w 21820"/>
                  <a:gd name="T5" fmla="*/ 270 h 21870"/>
                </a:gdLst>
                <a:ahLst/>
                <a:cxnLst>
                  <a:cxn ang="0">
                    <a:pos x="T0" y="T1"/>
                  </a:cxn>
                  <a:cxn ang="0">
                    <a:pos x="T2" y="T3"/>
                  </a:cxn>
                  <a:cxn ang="0">
                    <a:pos x="T4" y="T5"/>
                  </a:cxn>
                </a:cxnLst>
                <a:rect l="0" t="0" r="r" b="b"/>
                <a:pathLst>
                  <a:path w="21820" h="21870" fill="none" extrusionOk="0">
                    <a:moveTo>
                      <a:pt x="21819" y="21868"/>
                    </a:moveTo>
                    <a:cubicBezTo>
                      <a:pt x="21746" y="21869"/>
                      <a:pt x="21673" y="21869"/>
                      <a:pt x="21600" y="21870"/>
                    </a:cubicBezTo>
                    <a:cubicBezTo>
                      <a:pt x="9670" y="21870"/>
                      <a:pt x="0" y="12199"/>
                      <a:pt x="0" y="270"/>
                    </a:cubicBezTo>
                    <a:cubicBezTo>
                      <a:pt x="-1" y="179"/>
                      <a:pt x="0" y="89"/>
                      <a:pt x="1" y="-1"/>
                    </a:cubicBezTo>
                  </a:path>
                  <a:path w="21820" h="21870" stroke="0" extrusionOk="0">
                    <a:moveTo>
                      <a:pt x="21819" y="21868"/>
                    </a:moveTo>
                    <a:cubicBezTo>
                      <a:pt x="21746" y="21869"/>
                      <a:pt x="21673" y="21869"/>
                      <a:pt x="21600" y="21870"/>
                    </a:cubicBezTo>
                    <a:cubicBezTo>
                      <a:pt x="9670" y="21870"/>
                      <a:pt x="0" y="12199"/>
                      <a:pt x="0" y="270"/>
                    </a:cubicBezTo>
                    <a:cubicBezTo>
                      <a:pt x="-1" y="179"/>
                      <a:pt x="0" y="89"/>
                      <a:pt x="1" y="-1"/>
                    </a:cubicBezTo>
                    <a:lnTo>
                      <a:pt x="21600" y="270"/>
                    </a:lnTo>
                    <a:close/>
                  </a:path>
                </a:pathLst>
              </a:cu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grpSp>
            <p:nvGrpSpPr>
              <p:cNvPr id="150" name="Group 235">
                <a:extLst>
                  <a:ext uri="{FF2B5EF4-FFF2-40B4-BE49-F238E27FC236}">
                    <a16:creationId xmlns:a16="http://schemas.microsoft.com/office/drawing/2014/main" id="{D47A9CF9-136C-4412-80DD-9B370CF5F1CD}"/>
                  </a:ext>
                </a:extLst>
              </p:cNvPr>
              <p:cNvGrpSpPr>
                <a:grpSpLocks/>
              </p:cNvGrpSpPr>
              <p:nvPr/>
            </p:nvGrpSpPr>
            <p:grpSpPr bwMode="auto">
              <a:xfrm>
                <a:off x="-1320" y="572"/>
                <a:ext cx="84" cy="80"/>
                <a:chOff x="2959" y="1239"/>
                <a:chExt cx="285" cy="285"/>
              </a:xfrm>
            </p:grpSpPr>
            <p:grpSp>
              <p:nvGrpSpPr>
                <p:cNvPr id="162" name="Group 236">
                  <a:extLst>
                    <a:ext uri="{FF2B5EF4-FFF2-40B4-BE49-F238E27FC236}">
                      <a16:creationId xmlns:a16="http://schemas.microsoft.com/office/drawing/2014/main" id="{0272AFBC-D054-4294-A783-D6CE7682DE12}"/>
                    </a:ext>
                  </a:extLst>
                </p:cNvPr>
                <p:cNvGrpSpPr>
                  <a:grpSpLocks/>
                </p:cNvGrpSpPr>
                <p:nvPr/>
              </p:nvGrpSpPr>
              <p:grpSpPr bwMode="auto">
                <a:xfrm>
                  <a:off x="2959" y="1239"/>
                  <a:ext cx="281" cy="285"/>
                  <a:chOff x="2959" y="1239"/>
                  <a:chExt cx="281" cy="285"/>
                </a:xfrm>
              </p:grpSpPr>
              <p:sp>
                <p:nvSpPr>
                  <p:cNvPr id="168" name="Freeform 237">
                    <a:extLst>
                      <a:ext uri="{FF2B5EF4-FFF2-40B4-BE49-F238E27FC236}">
                        <a16:creationId xmlns:a16="http://schemas.microsoft.com/office/drawing/2014/main" id="{FE1DF9A7-B0D4-4892-B92B-0882E7092321}"/>
                      </a:ext>
                    </a:extLst>
                  </p:cNvPr>
                  <p:cNvSpPr>
                    <a:spLocks/>
                  </p:cNvSpPr>
                  <p:nvPr/>
                </p:nvSpPr>
                <p:spPr bwMode="auto">
                  <a:xfrm>
                    <a:off x="2954" y="1239"/>
                    <a:ext cx="286" cy="281"/>
                  </a:xfrm>
                  <a:custGeom>
                    <a:avLst/>
                    <a:gdLst>
                      <a:gd name="T0" fmla="*/ 0 w 280"/>
                      <a:gd name="T1" fmla="*/ 86 h 282"/>
                      <a:gd name="T2" fmla="*/ 0 w 280"/>
                      <a:gd name="T3" fmla="*/ 230 h 282"/>
                      <a:gd name="T4" fmla="*/ 16 w 280"/>
                      <a:gd name="T5" fmla="*/ 252 h 282"/>
                      <a:gd name="T6" fmla="*/ 36 w 280"/>
                      <a:gd name="T7" fmla="*/ 266 h 282"/>
                      <a:gd name="T8" fmla="*/ 60 w 280"/>
                      <a:gd name="T9" fmla="*/ 273 h 282"/>
                      <a:gd name="T10" fmla="*/ 89 w 280"/>
                      <a:gd name="T11" fmla="*/ 279 h 282"/>
                      <a:gd name="T12" fmla="*/ 119 w 280"/>
                      <a:gd name="T13" fmla="*/ 282 h 282"/>
                      <a:gd name="T14" fmla="*/ 159 w 280"/>
                      <a:gd name="T15" fmla="*/ 282 h 282"/>
                      <a:gd name="T16" fmla="*/ 193 w 280"/>
                      <a:gd name="T17" fmla="*/ 280 h 282"/>
                      <a:gd name="T18" fmla="*/ 226 w 280"/>
                      <a:gd name="T19" fmla="*/ 273 h 282"/>
                      <a:gd name="T20" fmla="*/ 254 w 280"/>
                      <a:gd name="T21" fmla="*/ 261 h 282"/>
                      <a:gd name="T22" fmla="*/ 271 w 280"/>
                      <a:gd name="T23" fmla="*/ 251 h 282"/>
                      <a:gd name="T24" fmla="*/ 280 w 280"/>
                      <a:gd name="T25" fmla="*/ 232 h 282"/>
                      <a:gd name="T26" fmla="*/ 280 w 280"/>
                      <a:gd name="T27" fmla="*/ 84 h 282"/>
                      <a:gd name="T28" fmla="*/ 274 w 280"/>
                      <a:gd name="T29" fmla="*/ 56 h 282"/>
                      <a:gd name="T30" fmla="*/ 259 w 280"/>
                      <a:gd name="T31" fmla="*/ 39 h 282"/>
                      <a:gd name="T32" fmla="*/ 240 w 280"/>
                      <a:gd name="T33" fmla="*/ 27 h 282"/>
                      <a:gd name="T34" fmla="*/ 225 w 280"/>
                      <a:gd name="T35" fmla="*/ 17 h 282"/>
                      <a:gd name="T36" fmla="*/ 194 w 280"/>
                      <a:gd name="T37" fmla="*/ 8 h 282"/>
                      <a:gd name="T38" fmla="*/ 163 w 280"/>
                      <a:gd name="T39" fmla="*/ 3 h 282"/>
                      <a:gd name="T40" fmla="*/ 128 w 280"/>
                      <a:gd name="T41" fmla="*/ 0 h 282"/>
                      <a:gd name="T42" fmla="*/ 104 w 280"/>
                      <a:gd name="T43" fmla="*/ 3 h 282"/>
                      <a:gd name="T44" fmla="*/ 75 w 280"/>
                      <a:gd name="T45" fmla="*/ 9 h 282"/>
                      <a:gd name="T46" fmla="*/ 48 w 280"/>
                      <a:gd name="T47" fmla="*/ 20 h 282"/>
                      <a:gd name="T48" fmla="*/ 29 w 280"/>
                      <a:gd name="T49" fmla="*/ 33 h 282"/>
                      <a:gd name="T50" fmla="*/ 17 w 280"/>
                      <a:gd name="T51" fmla="*/ 45 h 282"/>
                      <a:gd name="T52" fmla="*/ 7 w 280"/>
                      <a:gd name="T53" fmla="*/ 56 h 282"/>
                      <a:gd name="T54" fmla="*/ 0 w 280"/>
                      <a:gd name="T55" fmla="*/ 8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0" h="282">
                        <a:moveTo>
                          <a:pt x="0" y="86"/>
                        </a:moveTo>
                        <a:lnTo>
                          <a:pt x="0" y="230"/>
                        </a:lnTo>
                        <a:lnTo>
                          <a:pt x="16" y="252"/>
                        </a:lnTo>
                        <a:lnTo>
                          <a:pt x="36" y="266"/>
                        </a:lnTo>
                        <a:lnTo>
                          <a:pt x="60" y="273"/>
                        </a:lnTo>
                        <a:lnTo>
                          <a:pt x="89" y="279"/>
                        </a:lnTo>
                        <a:lnTo>
                          <a:pt x="119" y="282"/>
                        </a:lnTo>
                        <a:lnTo>
                          <a:pt x="159" y="282"/>
                        </a:lnTo>
                        <a:lnTo>
                          <a:pt x="193" y="280"/>
                        </a:lnTo>
                        <a:lnTo>
                          <a:pt x="226" y="273"/>
                        </a:lnTo>
                        <a:lnTo>
                          <a:pt x="254" y="261"/>
                        </a:lnTo>
                        <a:lnTo>
                          <a:pt x="271" y="251"/>
                        </a:lnTo>
                        <a:lnTo>
                          <a:pt x="280" y="232"/>
                        </a:lnTo>
                        <a:lnTo>
                          <a:pt x="280" y="84"/>
                        </a:lnTo>
                        <a:lnTo>
                          <a:pt x="274" y="56"/>
                        </a:lnTo>
                        <a:lnTo>
                          <a:pt x="259" y="39"/>
                        </a:lnTo>
                        <a:lnTo>
                          <a:pt x="240" y="27"/>
                        </a:lnTo>
                        <a:lnTo>
                          <a:pt x="225" y="17"/>
                        </a:lnTo>
                        <a:lnTo>
                          <a:pt x="194" y="8"/>
                        </a:lnTo>
                        <a:lnTo>
                          <a:pt x="163" y="3"/>
                        </a:lnTo>
                        <a:lnTo>
                          <a:pt x="128" y="0"/>
                        </a:lnTo>
                        <a:lnTo>
                          <a:pt x="104" y="3"/>
                        </a:lnTo>
                        <a:lnTo>
                          <a:pt x="75" y="9"/>
                        </a:lnTo>
                        <a:lnTo>
                          <a:pt x="48" y="20"/>
                        </a:lnTo>
                        <a:lnTo>
                          <a:pt x="29" y="33"/>
                        </a:lnTo>
                        <a:lnTo>
                          <a:pt x="17" y="45"/>
                        </a:lnTo>
                        <a:lnTo>
                          <a:pt x="7" y="56"/>
                        </a:lnTo>
                        <a:lnTo>
                          <a:pt x="0" y="86"/>
                        </a:lnTo>
                        <a:close/>
                      </a:path>
                    </a:pathLst>
                  </a:custGeom>
                  <a:solidFill>
                    <a:srgbClr val="C0C0C0"/>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grpSp>
                <p:nvGrpSpPr>
                  <p:cNvPr id="169" name="Group 238">
                    <a:extLst>
                      <a:ext uri="{FF2B5EF4-FFF2-40B4-BE49-F238E27FC236}">
                        <a16:creationId xmlns:a16="http://schemas.microsoft.com/office/drawing/2014/main" id="{946D9F86-E702-4935-B666-E0AA671B3462}"/>
                      </a:ext>
                    </a:extLst>
                  </p:cNvPr>
                  <p:cNvGrpSpPr>
                    <a:grpSpLocks/>
                  </p:cNvGrpSpPr>
                  <p:nvPr/>
                </p:nvGrpSpPr>
                <p:grpSpPr bwMode="auto">
                  <a:xfrm>
                    <a:off x="3100" y="1251"/>
                    <a:ext cx="140" cy="273"/>
                    <a:chOff x="3100" y="1251"/>
                    <a:chExt cx="140" cy="273"/>
                  </a:xfrm>
                </p:grpSpPr>
                <p:sp>
                  <p:nvSpPr>
                    <p:cNvPr id="170" name="Freeform 239">
                      <a:extLst>
                        <a:ext uri="{FF2B5EF4-FFF2-40B4-BE49-F238E27FC236}">
                          <a16:creationId xmlns:a16="http://schemas.microsoft.com/office/drawing/2014/main" id="{16CFF1DF-E2BC-4517-A55D-D10467778178}"/>
                        </a:ext>
                      </a:extLst>
                    </p:cNvPr>
                    <p:cNvSpPr>
                      <a:spLocks/>
                    </p:cNvSpPr>
                    <p:nvPr/>
                  </p:nvSpPr>
                  <p:spPr bwMode="auto">
                    <a:xfrm>
                      <a:off x="3155" y="1246"/>
                      <a:ext cx="85" cy="277"/>
                    </a:xfrm>
                    <a:custGeom>
                      <a:avLst/>
                      <a:gdLst>
                        <a:gd name="T0" fmla="*/ 0 w 87"/>
                        <a:gd name="T1" fmla="*/ 273 h 273"/>
                        <a:gd name="T2" fmla="*/ 34 w 87"/>
                        <a:gd name="T3" fmla="*/ 265 h 273"/>
                        <a:gd name="T4" fmla="*/ 62 w 87"/>
                        <a:gd name="T5" fmla="*/ 254 h 273"/>
                        <a:gd name="T6" fmla="*/ 78 w 87"/>
                        <a:gd name="T7" fmla="*/ 243 h 273"/>
                        <a:gd name="T8" fmla="*/ 87 w 87"/>
                        <a:gd name="T9" fmla="*/ 224 h 273"/>
                        <a:gd name="T10" fmla="*/ 87 w 87"/>
                        <a:gd name="T11" fmla="*/ 77 h 273"/>
                        <a:gd name="T12" fmla="*/ 81 w 87"/>
                        <a:gd name="T13" fmla="*/ 49 h 273"/>
                        <a:gd name="T14" fmla="*/ 66 w 87"/>
                        <a:gd name="T15" fmla="*/ 31 h 273"/>
                        <a:gd name="T16" fmla="*/ 47 w 87"/>
                        <a:gd name="T17" fmla="*/ 19 h 273"/>
                        <a:gd name="T18" fmla="*/ 32 w 87"/>
                        <a:gd name="T19" fmla="*/ 9 h 273"/>
                        <a:gd name="T20" fmla="*/ 2 w 87"/>
                        <a:gd name="T21" fmla="*/ 0 h 273"/>
                        <a:gd name="T22" fmla="*/ 0 w 87"/>
                        <a:gd name="T23"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 h="273">
                          <a:moveTo>
                            <a:pt x="0" y="273"/>
                          </a:moveTo>
                          <a:lnTo>
                            <a:pt x="34" y="265"/>
                          </a:lnTo>
                          <a:lnTo>
                            <a:pt x="62" y="254"/>
                          </a:lnTo>
                          <a:lnTo>
                            <a:pt x="78" y="243"/>
                          </a:lnTo>
                          <a:lnTo>
                            <a:pt x="87" y="224"/>
                          </a:lnTo>
                          <a:lnTo>
                            <a:pt x="87" y="77"/>
                          </a:lnTo>
                          <a:lnTo>
                            <a:pt x="81" y="49"/>
                          </a:lnTo>
                          <a:lnTo>
                            <a:pt x="66" y="31"/>
                          </a:lnTo>
                          <a:lnTo>
                            <a:pt x="47" y="19"/>
                          </a:lnTo>
                          <a:lnTo>
                            <a:pt x="32" y="9"/>
                          </a:lnTo>
                          <a:lnTo>
                            <a:pt x="2" y="0"/>
                          </a:lnTo>
                          <a:lnTo>
                            <a:pt x="0" y="273"/>
                          </a:lnTo>
                          <a:close/>
                        </a:path>
                      </a:pathLst>
                    </a:custGeom>
                    <a:solidFill>
                      <a:srgbClr val="9F9F9F"/>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71" name="Freeform 240">
                      <a:extLst>
                        <a:ext uri="{FF2B5EF4-FFF2-40B4-BE49-F238E27FC236}">
                          <a16:creationId xmlns:a16="http://schemas.microsoft.com/office/drawing/2014/main" id="{3692BAFE-4582-4D7B-9241-D163E29E8AD4}"/>
                        </a:ext>
                      </a:extLst>
                    </p:cNvPr>
                    <p:cNvSpPr>
                      <a:spLocks/>
                    </p:cNvSpPr>
                    <p:nvPr/>
                  </p:nvSpPr>
                  <p:spPr bwMode="auto">
                    <a:xfrm>
                      <a:off x="3100" y="1420"/>
                      <a:ext cx="140" cy="100"/>
                    </a:xfrm>
                    <a:custGeom>
                      <a:avLst/>
                      <a:gdLst>
                        <a:gd name="T0" fmla="*/ 52 w 139"/>
                        <a:gd name="T1" fmla="*/ 100 h 100"/>
                        <a:gd name="T2" fmla="*/ 85 w 139"/>
                        <a:gd name="T3" fmla="*/ 93 h 100"/>
                        <a:gd name="T4" fmla="*/ 113 w 139"/>
                        <a:gd name="T5" fmla="*/ 81 h 100"/>
                        <a:gd name="T6" fmla="*/ 130 w 139"/>
                        <a:gd name="T7" fmla="*/ 71 h 100"/>
                        <a:gd name="T8" fmla="*/ 139 w 139"/>
                        <a:gd name="T9" fmla="*/ 52 h 100"/>
                        <a:gd name="T10" fmla="*/ 130 w 139"/>
                        <a:gd name="T11" fmla="*/ 36 h 100"/>
                        <a:gd name="T12" fmla="*/ 116 w 139"/>
                        <a:gd name="T13" fmla="*/ 24 h 100"/>
                        <a:gd name="T14" fmla="*/ 96 w 139"/>
                        <a:gd name="T15" fmla="*/ 12 h 100"/>
                        <a:gd name="T16" fmla="*/ 75 w 139"/>
                        <a:gd name="T17" fmla="*/ 3 h 100"/>
                        <a:gd name="T18" fmla="*/ 53 w 139"/>
                        <a:gd name="T19" fmla="*/ 0 h 100"/>
                        <a:gd name="T20" fmla="*/ 0 w 139"/>
                        <a:gd name="T21" fmla="*/ 24 h 100"/>
                        <a:gd name="T22" fmla="*/ 52 w 139"/>
                        <a:gd name="T2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9" h="100">
                          <a:moveTo>
                            <a:pt x="52" y="100"/>
                          </a:moveTo>
                          <a:lnTo>
                            <a:pt x="85" y="93"/>
                          </a:lnTo>
                          <a:lnTo>
                            <a:pt x="113" y="81"/>
                          </a:lnTo>
                          <a:lnTo>
                            <a:pt x="130" y="71"/>
                          </a:lnTo>
                          <a:lnTo>
                            <a:pt x="139" y="52"/>
                          </a:lnTo>
                          <a:lnTo>
                            <a:pt x="130" y="36"/>
                          </a:lnTo>
                          <a:lnTo>
                            <a:pt x="116" y="24"/>
                          </a:lnTo>
                          <a:lnTo>
                            <a:pt x="96" y="12"/>
                          </a:lnTo>
                          <a:lnTo>
                            <a:pt x="75" y="3"/>
                          </a:lnTo>
                          <a:lnTo>
                            <a:pt x="53" y="0"/>
                          </a:lnTo>
                          <a:lnTo>
                            <a:pt x="0" y="24"/>
                          </a:lnTo>
                          <a:lnTo>
                            <a:pt x="52" y="100"/>
                          </a:lnTo>
                          <a:close/>
                        </a:path>
                      </a:pathLst>
                    </a:custGeom>
                    <a:solidFill>
                      <a:srgbClr val="3F3F3F"/>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grpSp>
            </p:grpSp>
            <p:grpSp>
              <p:nvGrpSpPr>
                <p:cNvPr id="163" name="Group 241">
                  <a:extLst>
                    <a:ext uri="{FF2B5EF4-FFF2-40B4-BE49-F238E27FC236}">
                      <a16:creationId xmlns:a16="http://schemas.microsoft.com/office/drawing/2014/main" id="{D21EFD7D-146C-47C7-A594-57C69CB50167}"/>
                    </a:ext>
                  </a:extLst>
                </p:cNvPr>
                <p:cNvGrpSpPr>
                  <a:grpSpLocks/>
                </p:cNvGrpSpPr>
                <p:nvPr/>
              </p:nvGrpSpPr>
              <p:grpSpPr bwMode="auto">
                <a:xfrm>
                  <a:off x="2960" y="1243"/>
                  <a:ext cx="284" cy="281"/>
                  <a:chOff x="2960" y="1243"/>
                  <a:chExt cx="284" cy="281"/>
                </a:xfrm>
              </p:grpSpPr>
              <p:sp>
                <p:nvSpPr>
                  <p:cNvPr id="164" name="Arc 242">
                    <a:extLst>
                      <a:ext uri="{FF2B5EF4-FFF2-40B4-BE49-F238E27FC236}">
                        <a16:creationId xmlns:a16="http://schemas.microsoft.com/office/drawing/2014/main" id="{2172570B-0891-4556-8457-C0DC8B5017F1}"/>
                      </a:ext>
                    </a:extLst>
                  </p:cNvPr>
                  <p:cNvSpPr>
                    <a:spLocks/>
                  </p:cNvSpPr>
                  <p:nvPr/>
                </p:nvSpPr>
                <p:spPr bwMode="auto">
                  <a:xfrm>
                    <a:off x="2852" y="1242"/>
                    <a:ext cx="388" cy="82"/>
                  </a:xfrm>
                  <a:custGeom>
                    <a:avLst/>
                    <a:gdLst>
                      <a:gd name="G0" fmla="+- 21600 0 0"/>
                      <a:gd name="G1" fmla="+- 21600 0 0"/>
                      <a:gd name="G2" fmla="+- 21600 0 0"/>
                      <a:gd name="T0" fmla="*/ 0 w 43200"/>
                      <a:gd name="T1" fmla="*/ 21600 h 21600"/>
                      <a:gd name="T2" fmla="*/ 43200 w 43200"/>
                      <a:gd name="T3" fmla="*/ 21600 h 21600"/>
                      <a:gd name="T4" fmla="*/ 21600 w 43200"/>
                      <a:gd name="T5" fmla="*/ 21600 h 21600"/>
                    </a:gdLst>
                    <a:ahLst/>
                    <a:cxnLst>
                      <a:cxn ang="0">
                        <a:pos x="T0" y="T1"/>
                      </a:cxn>
                      <a:cxn ang="0">
                        <a:pos x="T2" y="T3"/>
                      </a:cxn>
                      <a:cxn ang="0">
                        <a:pos x="T4" y="T5"/>
                      </a:cxn>
                    </a:cxnLst>
                    <a:rect l="0" t="0" r="r" b="b"/>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close/>
                      </a:path>
                    </a:pathLst>
                  </a:cu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65" name="Line 243">
                    <a:extLst>
                      <a:ext uri="{FF2B5EF4-FFF2-40B4-BE49-F238E27FC236}">
                        <a16:creationId xmlns:a16="http://schemas.microsoft.com/office/drawing/2014/main" id="{D8519B65-9507-46CA-8D77-850F53FEC967}"/>
                      </a:ext>
                    </a:extLst>
                  </p:cNvPr>
                  <p:cNvSpPr>
                    <a:spLocks noChangeShapeType="1"/>
                  </p:cNvSpPr>
                  <p:nvPr/>
                </p:nvSpPr>
                <p:spPr bwMode="auto">
                  <a:xfrm>
                    <a:off x="2852" y="1324"/>
                    <a:ext cx="0" cy="142"/>
                  </a:xfrm>
                  <a:prstGeom prst="line">
                    <a:avLst/>
                  </a:pr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66" name="Line 244">
                    <a:extLst>
                      <a:ext uri="{FF2B5EF4-FFF2-40B4-BE49-F238E27FC236}">
                        <a16:creationId xmlns:a16="http://schemas.microsoft.com/office/drawing/2014/main" id="{5142EBC8-C19D-46A7-B350-532D7F93A392}"/>
                      </a:ext>
                    </a:extLst>
                  </p:cNvPr>
                  <p:cNvSpPr>
                    <a:spLocks noChangeShapeType="1"/>
                  </p:cNvSpPr>
                  <p:nvPr/>
                </p:nvSpPr>
                <p:spPr bwMode="auto">
                  <a:xfrm>
                    <a:off x="3244" y="1320"/>
                    <a:ext cx="0" cy="142"/>
                  </a:xfrm>
                  <a:prstGeom prst="line">
                    <a:avLst/>
                  </a:pr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67" name="Arc 245">
                    <a:extLst>
                      <a:ext uri="{FF2B5EF4-FFF2-40B4-BE49-F238E27FC236}">
                        <a16:creationId xmlns:a16="http://schemas.microsoft.com/office/drawing/2014/main" id="{8268C938-1467-4E5D-8566-4BD069B8A67E}"/>
                      </a:ext>
                    </a:extLst>
                  </p:cNvPr>
                  <p:cNvSpPr>
                    <a:spLocks/>
                  </p:cNvSpPr>
                  <p:nvPr/>
                </p:nvSpPr>
                <p:spPr bwMode="auto">
                  <a:xfrm>
                    <a:off x="2855" y="1466"/>
                    <a:ext cx="385" cy="57"/>
                  </a:xfrm>
                  <a:custGeom>
                    <a:avLst/>
                    <a:gdLst>
                      <a:gd name="G0" fmla="+- 21600 0 0"/>
                      <a:gd name="G1" fmla="+- 0 0 0"/>
                      <a:gd name="G2" fmla="+- 21600 0 0"/>
                      <a:gd name="T0" fmla="*/ 43200 w 43200"/>
                      <a:gd name="T1" fmla="*/ 0 h 21600"/>
                      <a:gd name="T2" fmla="*/ 0 w 43200"/>
                      <a:gd name="T3" fmla="*/ 0 h 21600"/>
                      <a:gd name="T4" fmla="*/ 21600 w 43200"/>
                      <a:gd name="T5" fmla="*/ 0 h 21600"/>
                    </a:gdLst>
                    <a:ahLst/>
                    <a:cxnLst>
                      <a:cxn ang="0">
                        <a:pos x="T0" y="T1"/>
                      </a:cxn>
                      <a:cxn ang="0">
                        <a:pos x="T2" y="T3"/>
                      </a:cxn>
                      <a:cxn ang="0">
                        <a:pos x="T4" y="T5"/>
                      </a:cxn>
                    </a:cxnLst>
                    <a:rect l="0" t="0" r="r" b="b"/>
                    <a:pathLst>
                      <a:path w="43200" h="21600" fill="none" extrusionOk="0">
                        <a:moveTo>
                          <a:pt x="43200" y="0"/>
                        </a:moveTo>
                        <a:cubicBezTo>
                          <a:pt x="43200" y="11929"/>
                          <a:pt x="33529" y="21600"/>
                          <a:pt x="21600" y="21600"/>
                        </a:cubicBezTo>
                        <a:cubicBezTo>
                          <a:pt x="9670" y="21600"/>
                          <a:pt x="0" y="11929"/>
                          <a:pt x="0" y="0"/>
                        </a:cubicBezTo>
                      </a:path>
                      <a:path w="43200" h="21600" stroke="0" extrusionOk="0">
                        <a:moveTo>
                          <a:pt x="43200" y="0"/>
                        </a:moveTo>
                        <a:cubicBezTo>
                          <a:pt x="43200" y="11929"/>
                          <a:pt x="33529" y="21600"/>
                          <a:pt x="21600" y="21600"/>
                        </a:cubicBezTo>
                        <a:cubicBezTo>
                          <a:pt x="9670" y="21600"/>
                          <a:pt x="0" y="11929"/>
                          <a:pt x="0" y="0"/>
                        </a:cubicBezTo>
                        <a:lnTo>
                          <a:pt x="21600" y="0"/>
                        </a:lnTo>
                        <a:close/>
                      </a:path>
                    </a:pathLst>
                  </a:cu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grpSp>
          </p:grpSp>
          <p:grpSp>
            <p:nvGrpSpPr>
              <p:cNvPr id="151" name="Group 246">
                <a:extLst>
                  <a:ext uri="{FF2B5EF4-FFF2-40B4-BE49-F238E27FC236}">
                    <a16:creationId xmlns:a16="http://schemas.microsoft.com/office/drawing/2014/main" id="{36F12BB7-BC3E-47EC-B6B6-8EBA8664B195}"/>
                  </a:ext>
                </a:extLst>
              </p:cNvPr>
              <p:cNvGrpSpPr>
                <a:grpSpLocks/>
              </p:cNvGrpSpPr>
              <p:nvPr/>
            </p:nvGrpSpPr>
            <p:grpSpPr bwMode="auto">
              <a:xfrm>
                <a:off x="-1315" y="579"/>
                <a:ext cx="9" cy="50"/>
                <a:chOff x="2976" y="1263"/>
                <a:chExt cx="32" cy="180"/>
              </a:xfrm>
            </p:grpSpPr>
            <p:sp>
              <p:nvSpPr>
                <p:cNvPr id="159" name="Line 247">
                  <a:extLst>
                    <a:ext uri="{FF2B5EF4-FFF2-40B4-BE49-F238E27FC236}">
                      <a16:creationId xmlns:a16="http://schemas.microsoft.com/office/drawing/2014/main" id="{38A328E3-1384-462A-B2B4-07D8FF7E3553}"/>
                    </a:ext>
                  </a:extLst>
                </p:cNvPr>
                <p:cNvSpPr>
                  <a:spLocks noChangeShapeType="1"/>
                </p:cNvSpPr>
                <p:nvPr/>
              </p:nvSpPr>
              <p:spPr bwMode="auto">
                <a:xfrm>
                  <a:off x="2971" y="1291"/>
                  <a:ext cx="0" cy="151"/>
                </a:xfrm>
                <a:prstGeom prst="line">
                  <a:avLst/>
                </a:pr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60" name="Line 248">
                  <a:extLst>
                    <a:ext uri="{FF2B5EF4-FFF2-40B4-BE49-F238E27FC236}">
                      <a16:creationId xmlns:a16="http://schemas.microsoft.com/office/drawing/2014/main" id="{AE7BBD6C-70E1-49CB-B705-6A31D702440E}"/>
                    </a:ext>
                  </a:extLst>
                </p:cNvPr>
                <p:cNvSpPr>
                  <a:spLocks noChangeShapeType="1"/>
                </p:cNvSpPr>
                <p:nvPr/>
              </p:nvSpPr>
              <p:spPr bwMode="auto">
                <a:xfrm>
                  <a:off x="2989" y="1273"/>
                  <a:ext cx="4" cy="155"/>
                </a:xfrm>
                <a:prstGeom prst="line">
                  <a:avLst/>
                </a:pr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61" name="Line 249">
                  <a:extLst>
                    <a:ext uri="{FF2B5EF4-FFF2-40B4-BE49-F238E27FC236}">
                      <a16:creationId xmlns:a16="http://schemas.microsoft.com/office/drawing/2014/main" id="{C5751873-3ECA-45EE-B52D-53A683915EFC}"/>
                    </a:ext>
                  </a:extLst>
                </p:cNvPr>
                <p:cNvSpPr>
                  <a:spLocks noChangeShapeType="1"/>
                </p:cNvSpPr>
                <p:nvPr/>
              </p:nvSpPr>
              <p:spPr bwMode="auto">
                <a:xfrm>
                  <a:off x="3003" y="1263"/>
                  <a:ext cx="0" cy="151"/>
                </a:xfrm>
                <a:prstGeom prst="line">
                  <a:avLst/>
                </a:pr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grpSp>
          <p:grpSp>
            <p:nvGrpSpPr>
              <p:cNvPr id="152" name="Group 250">
                <a:extLst>
                  <a:ext uri="{FF2B5EF4-FFF2-40B4-BE49-F238E27FC236}">
                    <a16:creationId xmlns:a16="http://schemas.microsoft.com/office/drawing/2014/main" id="{73EACA53-2D02-4F17-9CE2-76D610A86EE0}"/>
                  </a:ext>
                </a:extLst>
              </p:cNvPr>
              <p:cNvGrpSpPr>
                <a:grpSpLocks/>
              </p:cNvGrpSpPr>
              <p:nvPr/>
            </p:nvGrpSpPr>
            <p:grpSpPr bwMode="auto">
              <a:xfrm>
                <a:off x="-1308" y="631"/>
                <a:ext cx="58" cy="98"/>
                <a:chOff x="3001" y="1447"/>
                <a:chExt cx="198" cy="349"/>
              </a:xfrm>
            </p:grpSpPr>
            <p:sp>
              <p:nvSpPr>
                <p:cNvPr id="157" name="Freeform 251">
                  <a:extLst>
                    <a:ext uri="{FF2B5EF4-FFF2-40B4-BE49-F238E27FC236}">
                      <a16:creationId xmlns:a16="http://schemas.microsoft.com/office/drawing/2014/main" id="{491E6689-D586-41EA-97F3-8F76F2F062B5}"/>
                    </a:ext>
                  </a:extLst>
                </p:cNvPr>
                <p:cNvSpPr>
                  <a:spLocks/>
                </p:cNvSpPr>
                <p:nvPr/>
              </p:nvSpPr>
              <p:spPr bwMode="auto">
                <a:xfrm>
                  <a:off x="3000" y="1446"/>
                  <a:ext cx="195" cy="352"/>
                </a:xfrm>
                <a:custGeom>
                  <a:avLst/>
                  <a:gdLst>
                    <a:gd name="T0" fmla="*/ 0 w 198"/>
                    <a:gd name="T1" fmla="*/ 279 h 349"/>
                    <a:gd name="T2" fmla="*/ 0 w 198"/>
                    <a:gd name="T3" fmla="*/ 40 h 349"/>
                    <a:gd name="T4" fmla="*/ 16 w 198"/>
                    <a:gd name="T5" fmla="*/ 19 h 349"/>
                    <a:gd name="T6" fmla="*/ 39 w 198"/>
                    <a:gd name="T7" fmla="*/ 9 h 349"/>
                    <a:gd name="T8" fmla="*/ 67 w 198"/>
                    <a:gd name="T9" fmla="*/ 3 h 349"/>
                    <a:gd name="T10" fmla="*/ 99 w 198"/>
                    <a:gd name="T11" fmla="*/ 0 h 349"/>
                    <a:gd name="T12" fmla="*/ 124 w 198"/>
                    <a:gd name="T13" fmla="*/ 3 h 349"/>
                    <a:gd name="T14" fmla="*/ 155 w 198"/>
                    <a:gd name="T15" fmla="*/ 8 h 349"/>
                    <a:gd name="T16" fmla="*/ 180 w 198"/>
                    <a:gd name="T17" fmla="*/ 19 h 349"/>
                    <a:gd name="T18" fmla="*/ 198 w 198"/>
                    <a:gd name="T19" fmla="*/ 40 h 349"/>
                    <a:gd name="T20" fmla="*/ 198 w 198"/>
                    <a:gd name="T21" fmla="*/ 279 h 349"/>
                    <a:gd name="T22" fmla="*/ 184 w 198"/>
                    <a:gd name="T23" fmla="*/ 310 h 349"/>
                    <a:gd name="T24" fmla="*/ 164 w 198"/>
                    <a:gd name="T25" fmla="*/ 333 h 349"/>
                    <a:gd name="T26" fmla="*/ 146 w 198"/>
                    <a:gd name="T27" fmla="*/ 342 h 349"/>
                    <a:gd name="T28" fmla="*/ 123 w 198"/>
                    <a:gd name="T29" fmla="*/ 348 h 349"/>
                    <a:gd name="T30" fmla="*/ 99 w 198"/>
                    <a:gd name="T31" fmla="*/ 349 h 349"/>
                    <a:gd name="T32" fmla="*/ 80 w 198"/>
                    <a:gd name="T33" fmla="*/ 348 h 349"/>
                    <a:gd name="T34" fmla="*/ 56 w 198"/>
                    <a:gd name="T35" fmla="*/ 343 h 349"/>
                    <a:gd name="T36" fmla="*/ 34 w 198"/>
                    <a:gd name="T37" fmla="*/ 333 h 349"/>
                    <a:gd name="T38" fmla="*/ 19 w 198"/>
                    <a:gd name="T39" fmla="*/ 318 h 349"/>
                    <a:gd name="T40" fmla="*/ 6 w 198"/>
                    <a:gd name="T41" fmla="*/ 299 h 349"/>
                    <a:gd name="T42" fmla="*/ 0 w 198"/>
                    <a:gd name="T43" fmla="*/ 279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8" h="349">
                      <a:moveTo>
                        <a:pt x="0" y="279"/>
                      </a:moveTo>
                      <a:lnTo>
                        <a:pt x="0" y="40"/>
                      </a:lnTo>
                      <a:lnTo>
                        <a:pt x="16" y="19"/>
                      </a:lnTo>
                      <a:lnTo>
                        <a:pt x="39" y="9"/>
                      </a:lnTo>
                      <a:lnTo>
                        <a:pt x="67" y="3"/>
                      </a:lnTo>
                      <a:lnTo>
                        <a:pt x="99" y="0"/>
                      </a:lnTo>
                      <a:lnTo>
                        <a:pt x="124" y="3"/>
                      </a:lnTo>
                      <a:lnTo>
                        <a:pt x="155" y="8"/>
                      </a:lnTo>
                      <a:lnTo>
                        <a:pt x="180" y="19"/>
                      </a:lnTo>
                      <a:lnTo>
                        <a:pt x="198" y="40"/>
                      </a:lnTo>
                      <a:lnTo>
                        <a:pt x="198" y="279"/>
                      </a:lnTo>
                      <a:lnTo>
                        <a:pt x="184" y="310"/>
                      </a:lnTo>
                      <a:lnTo>
                        <a:pt x="164" y="333"/>
                      </a:lnTo>
                      <a:lnTo>
                        <a:pt x="146" y="342"/>
                      </a:lnTo>
                      <a:lnTo>
                        <a:pt x="123" y="348"/>
                      </a:lnTo>
                      <a:lnTo>
                        <a:pt x="99" y="349"/>
                      </a:lnTo>
                      <a:lnTo>
                        <a:pt x="80" y="348"/>
                      </a:lnTo>
                      <a:lnTo>
                        <a:pt x="56" y="343"/>
                      </a:lnTo>
                      <a:lnTo>
                        <a:pt x="34" y="333"/>
                      </a:lnTo>
                      <a:lnTo>
                        <a:pt x="19" y="318"/>
                      </a:lnTo>
                      <a:lnTo>
                        <a:pt x="6" y="299"/>
                      </a:lnTo>
                      <a:lnTo>
                        <a:pt x="0" y="279"/>
                      </a:lnTo>
                      <a:close/>
                    </a:path>
                  </a:pathLst>
                </a:custGeom>
                <a:solidFill>
                  <a:srgbClr val="C0C0C0"/>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58" name="Freeform 252">
                  <a:extLst>
                    <a:ext uri="{FF2B5EF4-FFF2-40B4-BE49-F238E27FC236}">
                      <a16:creationId xmlns:a16="http://schemas.microsoft.com/office/drawing/2014/main" id="{B76C6061-EC4D-4B58-9F0C-567BA52FD579}"/>
                    </a:ext>
                  </a:extLst>
                </p:cNvPr>
                <p:cNvSpPr>
                  <a:spLocks/>
                </p:cNvSpPr>
                <p:nvPr/>
              </p:nvSpPr>
              <p:spPr bwMode="auto">
                <a:xfrm>
                  <a:off x="3102" y="1446"/>
                  <a:ext cx="96" cy="352"/>
                </a:xfrm>
                <a:custGeom>
                  <a:avLst/>
                  <a:gdLst>
                    <a:gd name="T0" fmla="*/ 0 w 99"/>
                    <a:gd name="T1" fmla="*/ 0 h 349"/>
                    <a:gd name="T2" fmla="*/ 25 w 99"/>
                    <a:gd name="T3" fmla="*/ 3 h 349"/>
                    <a:gd name="T4" fmla="*/ 56 w 99"/>
                    <a:gd name="T5" fmla="*/ 8 h 349"/>
                    <a:gd name="T6" fmla="*/ 81 w 99"/>
                    <a:gd name="T7" fmla="*/ 19 h 349"/>
                    <a:gd name="T8" fmla="*/ 99 w 99"/>
                    <a:gd name="T9" fmla="*/ 40 h 349"/>
                    <a:gd name="T10" fmla="*/ 99 w 99"/>
                    <a:gd name="T11" fmla="*/ 279 h 349"/>
                    <a:gd name="T12" fmla="*/ 85 w 99"/>
                    <a:gd name="T13" fmla="*/ 310 h 349"/>
                    <a:gd name="T14" fmla="*/ 65 w 99"/>
                    <a:gd name="T15" fmla="*/ 333 h 349"/>
                    <a:gd name="T16" fmla="*/ 47 w 99"/>
                    <a:gd name="T17" fmla="*/ 342 h 349"/>
                    <a:gd name="T18" fmla="*/ 24 w 99"/>
                    <a:gd name="T19" fmla="*/ 348 h 349"/>
                    <a:gd name="T20" fmla="*/ 0 w 99"/>
                    <a:gd name="T21" fmla="*/ 349 h 349"/>
                    <a:gd name="T22" fmla="*/ 0 w 99"/>
                    <a:gd name="T23"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49">
                      <a:moveTo>
                        <a:pt x="0" y="0"/>
                      </a:moveTo>
                      <a:lnTo>
                        <a:pt x="25" y="3"/>
                      </a:lnTo>
                      <a:lnTo>
                        <a:pt x="56" y="8"/>
                      </a:lnTo>
                      <a:lnTo>
                        <a:pt x="81" y="19"/>
                      </a:lnTo>
                      <a:lnTo>
                        <a:pt x="99" y="40"/>
                      </a:lnTo>
                      <a:lnTo>
                        <a:pt x="99" y="279"/>
                      </a:lnTo>
                      <a:lnTo>
                        <a:pt x="85" y="310"/>
                      </a:lnTo>
                      <a:lnTo>
                        <a:pt x="65" y="333"/>
                      </a:lnTo>
                      <a:lnTo>
                        <a:pt x="47" y="342"/>
                      </a:lnTo>
                      <a:lnTo>
                        <a:pt x="24" y="348"/>
                      </a:lnTo>
                      <a:lnTo>
                        <a:pt x="0" y="349"/>
                      </a:lnTo>
                      <a:lnTo>
                        <a:pt x="0" y="0"/>
                      </a:lnTo>
                      <a:close/>
                    </a:path>
                  </a:pathLst>
                </a:custGeom>
                <a:solidFill>
                  <a:srgbClr val="5F5F5F"/>
                </a:solidFill>
                <a:ln w="9525" cmpd="sng">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grpSp>
          <p:sp>
            <p:nvSpPr>
              <p:cNvPr id="153" name="Arc 253">
                <a:extLst>
                  <a:ext uri="{FF2B5EF4-FFF2-40B4-BE49-F238E27FC236}">
                    <a16:creationId xmlns:a16="http://schemas.microsoft.com/office/drawing/2014/main" id="{E36F4EE0-61DD-42DF-B8BB-11187BC06DB3}"/>
                  </a:ext>
                </a:extLst>
              </p:cNvPr>
              <p:cNvSpPr>
                <a:spLocks/>
              </p:cNvSpPr>
              <p:nvPr/>
            </p:nvSpPr>
            <p:spPr bwMode="auto">
              <a:xfrm>
                <a:off x="-1307" y="631"/>
                <a:ext cx="51" cy="10"/>
              </a:xfrm>
              <a:custGeom>
                <a:avLst/>
                <a:gdLst>
                  <a:gd name="G0" fmla="+- 21591 0 0"/>
                  <a:gd name="G1" fmla="+- 21600 0 0"/>
                  <a:gd name="G2" fmla="+- 21600 0 0"/>
                  <a:gd name="T0" fmla="*/ 0 w 43182"/>
                  <a:gd name="T1" fmla="*/ 20974 h 21600"/>
                  <a:gd name="T2" fmla="*/ 43182 w 43182"/>
                  <a:gd name="T3" fmla="*/ 20974 h 21600"/>
                  <a:gd name="T4" fmla="*/ 21591 w 43182"/>
                  <a:gd name="T5" fmla="*/ 21600 h 21600"/>
                </a:gdLst>
                <a:ahLst/>
                <a:cxnLst>
                  <a:cxn ang="0">
                    <a:pos x="T0" y="T1"/>
                  </a:cxn>
                  <a:cxn ang="0">
                    <a:pos x="T2" y="T3"/>
                  </a:cxn>
                  <a:cxn ang="0">
                    <a:pos x="T4" y="T5"/>
                  </a:cxn>
                </a:cxnLst>
                <a:rect l="0" t="0" r="r" b="b"/>
                <a:pathLst>
                  <a:path w="43182" h="21600" fill="none" extrusionOk="0">
                    <a:moveTo>
                      <a:pt x="0" y="20974"/>
                    </a:moveTo>
                    <a:cubicBezTo>
                      <a:pt x="338" y="9293"/>
                      <a:pt x="9905" y="-1"/>
                      <a:pt x="21591" y="0"/>
                    </a:cubicBezTo>
                    <a:cubicBezTo>
                      <a:pt x="33276" y="0"/>
                      <a:pt x="42843" y="9293"/>
                      <a:pt x="43181" y="20974"/>
                    </a:cubicBezTo>
                  </a:path>
                  <a:path w="43182" h="21600" stroke="0" extrusionOk="0">
                    <a:moveTo>
                      <a:pt x="0" y="20974"/>
                    </a:moveTo>
                    <a:cubicBezTo>
                      <a:pt x="338" y="9293"/>
                      <a:pt x="9905" y="-1"/>
                      <a:pt x="21591" y="0"/>
                    </a:cubicBezTo>
                    <a:cubicBezTo>
                      <a:pt x="33276" y="0"/>
                      <a:pt x="42843" y="9293"/>
                      <a:pt x="43181" y="20974"/>
                    </a:cubicBezTo>
                    <a:lnTo>
                      <a:pt x="21591" y="21600"/>
                    </a:lnTo>
                    <a:close/>
                  </a:path>
                </a:pathLst>
              </a:cu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54" name="Arc 254">
                <a:extLst>
                  <a:ext uri="{FF2B5EF4-FFF2-40B4-BE49-F238E27FC236}">
                    <a16:creationId xmlns:a16="http://schemas.microsoft.com/office/drawing/2014/main" id="{624EFECA-F860-4203-AF93-B088FBB3767C}"/>
                  </a:ext>
                </a:extLst>
              </p:cNvPr>
              <p:cNvSpPr>
                <a:spLocks/>
              </p:cNvSpPr>
              <p:nvPr/>
            </p:nvSpPr>
            <p:spPr bwMode="auto">
              <a:xfrm>
                <a:off x="-1307" y="720"/>
                <a:ext cx="51" cy="21"/>
              </a:xfrm>
              <a:custGeom>
                <a:avLst/>
                <a:gdLst>
                  <a:gd name="G0" fmla="+- 21600 0 0"/>
                  <a:gd name="G1" fmla="+- 0 0 0"/>
                  <a:gd name="G2" fmla="+- 21600 0 0"/>
                  <a:gd name="T0" fmla="*/ 43200 w 43200"/>
                  <a:gd name="T1" fmla="*/ 0 h 21600"/>
                  <a:gd name="T2" fmla="*/ 0 w 43200"/>
                  <a:gd name="T3" fmla="*/ 0 h 21600"/>
                  <a:gd name="T4" fmla="*/ 21600 w 43200"/>
                  <a:gd name="T5" fmla="*/ 0 h 21600"/>
                </a:gdLst>
                <a:ahLst/>
                <a:cxnLst>
                  <a:cxn ang="0">
                    <a:pos x="T0" y="T1"/>
                  </a:cxn>
                  <a:cxn ang="0">
                    <a:pos x="T2" y="T3"/>
                  </a:cxn>
                  <a:cxn ang="0">
                    <a:pos x="T4" y="T5"/>
                  </a:cxn>
                </a:cxnLst>
                <a:rect l="0" t="0" r="r" b="b"/>
                <a:pathLst>
                  <a:path w="43200" h="21600" fill="none" extrusionOk="0">
                    <a:moveTo>
                      <a:pt x="43200" y="0"/>
                    </a:moveTo>
                    <a:cubicBezTo>
                      <a:pt x="43200" y="11929"/>
                      <a:pt x="33529" y="21600"/>
                      <a:pt x="21600" y="21600"/>
                    </a:cubicBezTo>
                    <a:cubicBezTo>
                      <a:pt x="9670" y="21600"/>
                      <a:pt x="0" y="11929"/>
                      <a:pt x="0" y="0"/>
                    </a:cubicBezTo>
                  </a:path>
                  <a:path w="43200" h="21600" stroke="0" extrusionOk="0">
                    <a:moveTo>
                      <a:pt x="43200" y="0"/>
                    </a:moveTo>
                    <a:cubicBezTo>
                      <a:pt x="43200" y="11929"/>
                      <a:pt x="33529" y="21600"/>
                      <a:pt x="21600" y="21600"/>
                    </a:cubicBezTo>
                    <a:cubicBezTo>
                      <a:pt x="9670" y="21600"/>
                      <a:pt x="0" y="11929"/>
                      <a:pt x="0" y="0"/>
                    </a:cubicBezTo>
                    <a:lnTo>
                      <a:pt x="21600" y="0"/>
                    </a:lnTo>
                    <a:close/>
                  </a:path>
                </a:pathLst>
              </a:cu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55" name="Line 255">
                <a:extLst>
                  <a:ext uri="{FF2B5EF4-FFF2-40B4-BE49-F238E27FC236}">
                    <a16:creationId xmlns:a16="http://schemas.microsoft.com/office/drawing/2014/main" id="{4EF7C104-DA16-4EBD-BF88-408855A63A53}"/>
                  </a:ext>
                </a:extLst>
              </p:cNvPr>
              <p:cNvSpPr>
                <a:spLocks noChangeShapeType="1"/>
              </p:cNvSpPr>
              <p:nvPr/>
            </p:nvSpPr>
            <p:spPr bwMode="auto">
              <a:xfrm>
                <a:off x="-1308" y="641"/>
                <a:ext cx="0" cy="84"/>
              </a:xfrm>
              <a:prstGeom prst="line">
                <a:avLst/>
              </a:pr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56" name="Line 256">
                <a:extLst>
                  <a:ext uri="{FF2B5EF4-FFF2-40B4-BE49-F238E27FC236}">
                    <a16:creationId xmlns:a16="http://schemas.microsoft.com/office/drawing/2014/main" id="{CD29455F-6740-4639-97B2-FE891C751B31}"/>
                  </a:ext>
                </a:extLst>
              </p:cNvPr>
              <p:cNvSpPr>
                <a:spLocks noChangeShapeType="1"/>
              </p:cNvSpPr>
              <p:nvPr/>
            </p:nvSpPr>
            <p:spPr bwMode="auto">
              <a:xfrm>
                <a:off x="-1250" y="642"/>
                <a:ext cx="0" cy="83"/>
              </a:xfrm>
              <a:prstGeom prst="line">
                <a:avLst/>
              </a:prstGeom>
              <a:noFill/>
              <a:ln w="9525">
                <a:solidFill>
                  <a:srgbClr val="000000"/>
                </a:solidFill>
                <a:round/>
                <a:headEnd/>
                <a:tailEnd/>
              </a:ln>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grpSp>
        <p:sp>
          <p:nvSpPr>
            <p:cNvPr id="120" name="Line 258">
              <a:extLst>
                <a:ext uri="{FF2B5EF4-FFF2-40B4-BE49-F238E27FC236}">
                  <a16:creationId xmlns:a16="http://schemas.microsoft.com/office/drawing/2014/main" id="{17CBA496-0F54-411A-98CB-1E7AD2919CDC}"/>
                </a:ext>
              </a:extLst>
            </p:cNvPr>
            <p:cNvSpPr>
              <a:spLocks noChangeShapeType="1"/>
            </p:cNvSpPr>
            <p:nvPr/>
          </p:nvSpPr>
          <p:spPr bwMode="auto">
            <a:xfrm>
              <a:off x="1936" y="4116"/>
              <a:ext cx="625" cy="0"/>
            </a:xfrm>
            <a:prstGeom prst="line">
              <a:avLst/>
            </a:prstGeom>
            <a:noFill/>
            <a:ln w="38100">
              <a:solidFill>
                <a:srgbClr val="000000"/>
              </a:solidFill>
              <a:round/>
              <a:headEnd/>
              <a:tailEnd/>
            </a:ln>
            <a:effectLst/>
          </p:spPr>
          <p:txBody>
            <a:bodyPr wrap="none" lIns="91407" tIns="45704" rIns="91407" bIns="45704" anchor="ctr"/>
            <a:lstStyle/>
            <a:p>
              <a:pPr eaLnBrk="1" fontAlgn="auto" hangingPunct="1">
                <a:spcBef>
                  <a:spcPts val="0"/>
                </a:spcBef>
                <a:spcAft>
                  <a:spcPts val="0"/>
                </a:spcAft>
                <a:defRPr/>
              </a:pPr>
              <a:endParaRPr lang="en-US" kern="0">
                <a:solidFill>
                  <a:sysClr val="windowText" lastClr="000000"/>
                </a:solidFill>
                <a:latin typeface="Arial" charset="0"/>
                <a:cs typeface="+mn-cs"/>
              </a:endParaRPr>
            </a:p>
          </p:txBody>
        </p:sp>
        <p:sp>
          <p:nvSpPr>
            <p:cNvPr id="121" name="Text Box 259">
              <a:extLst>
                <a:ext uri="{FF2B5EF4-FFF2-40B4-BE49-F238E27FC236}">
                  <a16:creationId xmlns:a16="http://schemas.microsoft.com/office/drawing/2014/main" id="{C57452EB-3D59-4157-9EA3-AA66E1729227}"/>
                </a:ext>
              </a:extLst>
            </p:cNvPr>
            <p:cNvSpPr txBox="1">
              <a:spLocks noChangeArrowheads="1"/>
            </p:cNvSpPr>
            <p:nvPr/>
          </p:nvSpPr>
          <p:spPr bwMode="auto">
            <a:xfrm>
              <a:off x="2031" y="4027"/>
              <a:ext cx="427" cy="718"/>
            </a:xfrm>
            <a:prstGeom prst="rect">
              <a:avLst/>
            </a:prstGeom>
            <a:noFill/>
            <a:ln>
              <a:noFill/>
            </a:ln>
            <a:effectLst/>
          </p:spPr>
          <p:txBody>
            <a:bodyPr wrap="none" lIns="91407" tIns="45704" rIns="91407" bIns="45704" anchor="ctr"/>
            <a:lstStyle/>
            <a:p>
              <a:pPr eaLnBrk="1" fontAlgn="auto" hangingPunct="1">
                <a:spcBef>
                  <a:spcPts val="0"/>
                </a:spcBef>
                <a:spcAft>
                  <a:spcPts val="0"/>
                </a:spcAft>
                <a:defRPr/>
              </a:pPr>
              <a:r>
                <a:rPr lang="de-DE" sz="6000" kern="0" dirty="0">
                  <a:solidFill>
                    <a:sysClr val="windowText" lastClr="000000"/>
                  </a:solidFill>
                  <a:latin typeface="+mn-lt"/>
                  <a:cs typeface="+mn-cs"/>
                </a:rPr>
                <a:t>2</a:t>
              </a:r>
            </a:p>
          </p:txBody>
        </p:sp>
        <p:sp>
          <p:nvSpPr>
            <p:cNvPr id="122" name="Text Box 260">
              <a:extLst>
                <a:ext uri="{FF2B5EF4-FFF2-40B4-BE49-F238E27FC236}">
                  <a16:creationId xmlns:a16="http://schemas.microsoft.com/office/drawing/2014/main" id="{97676185-76B9-4B99-A78A-8146B9C9FA1C}"/>
                </a:ext>
              </a:extLst>
            </p:cNvPr>
            <p:cNvSpPr txBox="1">
              <a:spLocks noChangeArrowheads="1"/>
            </p:cNvSpPr>
            <p:nvPr/>
          </p:nvSpPr>
          <p:spPr bwMode="auto">
            <a:xfrm>
              <a:off x="263" y="3751"/>
              <a:ext cx="1238" cy="649"/>
            </a:xfrm>
            <a:prstGeom prst="rect">
              <a:avLst/>
            </a:prstGeom>
            <a:noFill/>
            <a:ln>
              <a:noFill/>
            </a:ln>
            <a:effectLst/>
          </p:spPr>
          <p:txBody>
            <a:bodyPr wrap="none" lIns="91407" tIns="45704" rIns="91407" bIns="45704" anchor="ctr"/>
            <a:lstStyle/>
            <a:p>
              <a:pPr eaLnBrk="1" fontAlgn="auto" hangingPunct="1">
                <a:spcBef>
                  <a:spcPts val="0"/>
                </a:spcBef>
                <a:spcAft>
                  <a:spcPts val="0"/>
                </a:spcAft>
                <a:defRPr/>
              </a:pPr>
              <a:r>
                <a:rPr lang="de-DE" sz="6000" kern="0" dirty="0">
                  <a:solidFill>
                    <a:sysClr val="windowText" lastClr="000000"/>
                  </a:solidFill>
                  <a:latin typeface="Arial" charset="0"/>
                  <a:cs typeface="+mn-cs"/>
                </a:rPr>
                <a:t>D</a:t>
              </a:r>
              <a:r>
                <a:rPr lang="de-DE" sz="6000" kern="0" dirty="0">
                  <a:solidFill>
                    <a:sysClr val="windowText" lastClr="000000"/>
                  </a:solidFill>
                  <a:latin typeface="+mn-lt"/>
                  <a:cs typeface="+mn-cs"/>
                </a:rPr>
                <a:t> = V</a:t>
              </a:r>
            </a:p>
          </p:txBody>
        </p:sp>
        <p:sp>
          <p:nvSpPr>
            <p:cNvPr id="123" name="Oval 261">
              <a:extLst>
                <a:ext uri="{FF2B5EF4-FFF2-40B4-BE49-F238E27FC236}">
                  <a16:creationId xmlns:a16="http://schemas.microsoft.com/office/drawing/2014/main" id="{E001C080-F3A2-470F-8E73-2C629E97717F}"/>
                </a:ext>
              </a:extLst>
            </p:cNvPr>
            <p:cNvSpPr>
              <a:spLocks noChangeArrowheads="1"/>
            </p:cNvSpPr>
            <p:nvPr/>
          </p:nvSpPr>
          <p:spPr bwMode="auto">
            <a:xfrm>
              <a:off x="1751" y="4071"/>
              <a:ext cx="106" cy="109"/>
            </a:xfrm>
            <a:prstGeom prst="ellipse">
              <a:avLst/>
            </a:prstGeom>
            <a:solidFill>
              <a:srgbClr val="000000"/>
            </a:solidFill>
            <a:ln w="38100">
              <a:solidFill>
                <a:srgbClr val="000000"/>
              </a:solidFill>
              <a:round/>
              <a:headEnd/>
              <a:tailEnd/>
            </a:ln>
          </p:spPr>
          <p:txBody>
            <a:bodyPr wrap="none" lIns="91407" tIns="45704" rIns="91407" bIns="45704"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zh-CN" sz="1800">
                <a:solidFill>
                  <a:srgbClr val="000000"/>
                </a:solidFill>
                <a:latin typeface="Arial" panose="020B0604020202020204" pitchFamily="34" charset="0"/>
              </a:endParaRPr>
            </a:p>
          </p:txBody>
        </p:sp>
      </p:grpSp>
      <p:grpSp>
        <p:nvGrpSpPr>
          <p:cNvPr id="200" name="Group 143">
            <a:extLst>
              <a:ext uri="{FF2B5EF4-FFF2-40B4-BE49-F238E27FC236}">
                <a16:creationId xmlns:a16="http://schemas.microsoft.com/office/drawing/2014/main" id="{561B93A8-6C51-4154-9A5C-FA0F6E885E4B}"/>
              </a:ext>
            </a:extLst>
          </p:cNvPr>
          <p:cNvGrpSpPr>
            <a:grpSpLocks/>
          </p:cNvGrpSpPr>
          <p:nvPr/>
        </p:nvGrpSpPr>
        <p:grpSpPr bwMode="auto">
          <a:xfrm>
            <a:off x="3786605" y="3843260"/>
            <a:ext cx="9525" cy="476250"/>
            <a:chOff x="8086726" y="3895725"/>
            <a:chExt cx="9525" cy="476256"/>
          </a:xfrm>
        </p:grpSpPr>
        <p:cxnSp>
          <p:nvCxnSpPr>
            <p:cNvPr id="201" name="Straight Connector 135">
              <a:extLst>
                <a:ext uri="{FF2B5EF4-FFF2-40B4-BE49-F238E27FC236}">
                  <a16:creationId xmlns:a16="http://schemas.microsoft.com/office/drawing/2014/main" id="{D178302E-9F0D-416A-BB3C-178DA0BFB817}"/>
                </a:ext>
              </a:extLst>
            </p:cNvPr>
            <p:cNvCxnSpPr>
              <a:cxnSpLocks noChangeShapeType="1"/>
            </p:cNvCxnSpPr>
            <p:nvPr/>
          </p:nvCxnSpPr>
          <p:spPr bwMode="auto">
            <a:xfrm rot="5400000">
              <a:off x="7872412" y="4110039"/>
              <a:ext cx="438153" cy="9525"/>
            </a:xfrm>
            <a:prstGeom prst="line">
              <a:avLst/>
            </a:prstGeom>
            <a:noFill/>
            <a:ln w="15875" algn="ctr">
              <a:solidFill>
                <a:schemeClr val="tx1"/>
              </a:solidFill>
              <a:round/>
              <a:headEnd/>
              <a:tailEnd/>
            </a:ln>
            <a:extLst>
              <a:ext uri="{909E8E84-426E-40DD-AFC4-6F175D3DCCD1}">
                <a14:hiddenFill xmlns:a14="http://schemas.microsoft.com/office/drawing/2010/main">
                  <a:noFill/>
                </a14:hiddenFill>
              </a:ext>
            </a:extLst>
          </p:spPr>
        </p:cxnSp>
        <p:cxnSp>
          <p:nvCxnSpPr>
            <p:cNvPr id="202" name="Straight Connector 138">
              <a:extLst>
                <a:ext uri="{FF2B5EF4-FFF2-40B4-BE49-F238E27FC236}">
                  <a16:creationId xmlns:a16="http://schemas.microsoft.com/office/drawing/2014/main" id="{6B3D7B94-B491-4ADF-BD8F-02ECF6BB32F2}"/>
                </a:ext>
              </a:extLst>
            </p:cNvPr>
            <p:cNvCxnSpPr>
              <a:cxnSpLocks noChangeShapeType="1"/>
            </p:cNvCxnSpPr>
            <p:nvPr/>
          </p:nvCxnSpPr>
          <p:spPr bwMode="auto">
            <a:xfrm rot="5400000">
              <a:off x="7977189" y="4252919"/>
              <a:ext cx="228604" cy="9519"/>
            </a:xfrm>
            <a:prstGeom prst="line">
              <a:avLst/>
            </a:prstGeom>
            <a:noFill/>
            <a:ln w="34925" algn="ctr">
              <a:solidFill>
                <a:srgbClr val="00B0F0"/>
              </a:solidFill>
              <a:round/>
              <a:headEnd/>
              <a:tailEnd/>
            </a:ln>
            <a:extLst>
              <a:ext uri="{909E8E84-426E-40DD-AFC4-6F175D3DCCD1}">
                <a14:hiddenFill xmlns:a14="http://schemas.microsoft.com/office/drawing/2010/main">
                  <a:noFill/>
                </a14:hiddenFill>
              </a:ext>
            </a:extLst>
          </p:spPr>
        </p:cxnSp>
      </p:grpSp>
      <p:pic>
        <p:nvPicPr>
          <p:cNvPr id="3" name="Picture 2">
            <a:extLst>
              <a:ext uri="{FF2B5EF4-FFF2-40B4-BE49-F238E27FC236}">
                <a16:creationId xmlns:a16="http://schemas.microsoft.com/office/drawing/2014/main" id="{F9AB3A4D-8199-4FFD-86D4-723CBDDE8F9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831252" y="1642293"/>
            <a:ext cx="509787" cy="1039764"/>
          </a:xfrm>
          <a:prstGeom prst="rect">
            <a:avLst/>
          </a:prstGeom>
        </p:spPr>
      </p:pic>
      <p:sp>
        <p:nvSpPr>
          <p:cNvPr id="26" name="Oval 25">
            <a:extLst>
              <a:ext uri="{FF2B5EF4-FFF2-40B4-BE49-F238E27FC236}">
                <a16:creationId xmlns:a16="http://schemas.microsoft.com/office/drawing/2014/main" id="{9A72F85E-895C-43E7-B119-C148EA3269C2}"/>
              </a:ext>
            </a:extLst>
          </p:cNvPr>
          <p:cNvSpPr/>
          <p:nvPr/>
        </p:nvSpPr>
        <p:spPr>
          <a:xfrm>
            <a:off x="7436486" y="2782517"/>
            <a:ext cx="1290192" cy="76200"/>
          </a:xfrm>
          <a:prstGeom prst="ellipse">
            <a:avLst/>
          </a:prstGeom>
          <a:gradFill flip="none" rotWithShape="1">
            <a:gsLst>
              <a:gs pos="0">
                <a:srgbClr val="FF0000"/>
              </a:gs>
              <a:gs pos="54000">
                <a:schemeClr val="accent1">
                  <a:tint val="44500"/>
                  <a:satMod val="160000"/>
                </a:schemeClr>
              </a:gs>
              <a:gs pos="100000">
                <a:schemeClr val="accent1">
                  <a:tint val="23500"/>
                  <a:satMod val="160000"/>
                </a:schemeClr>
              </a:gs>
            </a:gsLst>
            <a:path path="circle">
              <a:fillToRect l="50000" t="50000" r="50000" b="50000"/>
            </a:path>
            <a:tileRect/>
          </a:gradFill>
          <a:ln>
            <a:gradFill>
              <a:gsLst>
                <a:gs pos="0">
                  <a:srgbClr val="FF0000"/>
                </a:gs>
                <a:gs pos="50000">
                  <a:schemeClr val="accent1">
                    <a:tint val="44500"/>
                    <a:satMod val="160000"/>
                  </a:schemeClr>
                </a:gs>
                <a:gs pos="100000">
                  <a:schemeClr val="accent1">
                    <a:tint val="23500"/>
                    <a:satMod val="160000"/>
                  </a:schemeClr>
                </a:gs>
              </a:gsLst>
              <a:lin ang="5400000" scaled="0"/>
            </a:gradFill>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Bef>
                <a:spcPct val="50000"/>
              </a:spcBef>
              <a:buClr>
                <a:schemeClr val="tx2"/>
              </a:buClr>
              <a:buSzPct val="70000"/>
              <a:buFont typeface="Wingdings" panose="05000000000000000000" pitchFamily="2" charset="2"/>
              <a:buChar char="§"/>
              <a:defRPr/>
            </a:pPr>
            <a:endParaRPr lang="en-US" altLang="zh-CN">
              <a:solidFill>
                <a:srgbClr val="FFFFFF"/>
              </a:solidFill>
            </a:endParaRPr>
          </a:p>
        </p:txBody>
      </p:sp>
      <p:cxnSp>
        <p:nvCxnSpPr>
          <p:cNvPr id="5" name="Straight Connector 4">
            <a:extLst>
              <a:ext uri="{FF2B5EF4-FFF2-40B4-BE49-F238E27FC236}">
                <a16:creationId xmlns:a16="http://schemas.microsoft.com/office/drawing/2014/main" id="{53DDCE58-27C7-4F11-A580-CD723229EA6D}"/>
              </a:ext>
            </a:extLst>
          </p:cNvPr>
          <p:cNvCxnSpPr>
            <a:cxnSpLocks/>
          </p:cNvCxnSpPr>
          <p:nvPr/>
        </p:nvCxnSpPr>
        <p:spPr bwMode="gray">
          <a:xfrm>
            <a:off x="8024002" y="2602158"/>
            <a:ext cx="287777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8CE6B9FF-C8F3-4B96-ACA9-A02D330748C3}"/>
              </a:ext>
            </a:extLst>
          </p:cNvPr>
          <p:cNvCxnSpPr>
            <a:cxnSpLocks/>
          </p:cNvCxnSpPr>
          <p:nvPr/>
        </p:nvCxnSpPr>
        <p:spPr bwMode="gray">
          <a:xfrm flipH="1">
            <a:off x="10720329" y="5004323"/>
            <a:ext cx="1" cy="105479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FEDFEA9-2292-4A18-8A4E-09A9E182137B}"/>
              </a:ext>
            </a:extLst>
          </p:cNvPr>
          <p:cNvCxnSpPr>
            <a:cxnSpLocks/>
            <a:stCxn id="14" idx="0"/>
          </p:cNvCxnSpPr>
          <p:nvPr/>
        </p:nvCxnSpPr>
        <p:spPr bwMode="gray">
          <a:xfrm flipH="1" flipV="1">
            <a:off x="10706467" y="2602159"/>
            <a:ext cx="13862" cy="181338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3E851FC-6712-4E9E-8C8D-E649AE533B5A}"/>
              </a:ext>
            </a:extLst>
          </p:cNvPr>
          <p:cNvSpPr txBox="1"/>
          <p:nvPr/>
        </p:nvSpPr>
        <p:spPr bwMode="gray">
          <a:xfrm>
            <a:off x="10270978" y="4415545"/>
            <a:ext cx="898702" cy="503991"/>
          </a:xfrm>
          <a:prstGeom prst="rect">
            <a:avLst/>
          </a:prstGeom>
          <a:noFill/>
        </p:spPr>
        <p:txBody>
          <a:bodyPr wrap="square" lIns="72000" tIns="72000" rIns="72000" bIns="72000" rtlCol="0">
            <a:noAutofit/>
          </a:bodyPr>
          <a:lstStyle/>
          <a:p>
            <a:r>
              <a:rPr lang="en-US" sz="1400" dirty="0"/>
              <a:t>Empty distance</a:t>
            </a:r>
          </a:p>
        </p:txBody>
      </p:sp>
      <p:cxnSp>
        <p:nvCxnSpPr>
          <p:cNvPr id="203" name="Straight Arrow Connector 202">
            <a:extLst>
              <a:ext uri="{FF2B5EF4-FFF2-40B4-BE49-F238E27FC236}">
                <a16:creationId xmlns:a16="http://schemas.microsoft.com/office/drawing/2014/main" id="{918B633D-B44C-413A-804A-AD916F2FC6F7}"/>
              </a:ext>
            </a:extLst>
          </p:cNvPr>
          <p:cNvCxnSpPr>
            <a:cxnSpLocks/>
          </p:cNvCxnSpPr>
          <p:nvPr/>
        </p:nvCxnSpPr>
        <p:spPr bwMode="gray">
          <a:xfrm flipV="1">
            <a:off x="10163948" y="4801461"/>
            <a:ext cx="0" cy="37797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4" name="Straight Arrow Connector 203">
            <a:extLst>
              <a:ext uri="{FF2B5EF4-FFF2-40B4-BE49-F238E27FC236}">
                <a16:creationId xmlns:a16="http://schemas.microsoft.com/office/drawing/2014/main" id="{2EE37581-C0DC-44DF-B8FF-67844DB8D5B9}"/>
              </a:ext>
            </a:extLst>
          </p:cNvPr>
          <p:cNvCxnSpPr>
            <a:cxnSpLocks/>
          </p:cNvCxnSpPr>
          <p:nvPr/>
        </p:nvCxnSpPr>
        <p:spPr bwMode="gray">
          <a:xfrm>
            <a:off x="10163948" y="5661209"/>
            <a:ext cx="0" cy="39790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5" name="TextBox 204">
            <a:extLst>
              <a:ext uri="{FF2B5EF4-FFF2-40B4-BE49-F238E27FC236}">
                <a16:creationId xmlns:a16="http://schemas.microsoft.com/office/drawing/2014/main" id="{B6CF075E-E6B3-4A91-BCEB-A80F789DECE9}"/>
              </a:ext>
            </a:extLst>
          </p:cNvPr>
          <p:cNvSpPr txBox="1"/>
          <p:nvPr/>
        </p:nvSpPr>
        <p:spPr bwMode="gray">
          <a:xfrm>
            <a:off x="9891242" y="5197194"/>
            <a:ext cx="898702" cy="300574"/>
          </a:xfrm>
          <a:prstGeom prst="rect">
            <a:avLst/>
          </a:prstGeom>
          <a:noFill/>
        </p:spPr>
        <p:txBody>
          <a:bodyPr wrap="square" lIns="72000" tIns="72000" rIns="72000" bIns="72000" rtlCol="0">
            <a:noAutofit/>
          </a:bodyPr>
          <a:lstStyle/>
          <a:p>
            <a:r>
              <a:rPr lang="en-US" sz="1400" dirty="0"/>
              <a:t>Level</a:t>
            </a:r>
          </a:p>
        </p:txBody>
      </p:sp>
      <p:cxnSp>
        <p:nvCxnSpPr>
          <p:cNvPr id="206" name="Straight Connector 205">
            <a:extLst>
              <a:ext uri="{FF2B5EF4-FFF2-40B4-BE49-F238E27FC236}">
                <a16:creationId xmlns:a16="http://schemas.microsoft.com/office/drawing/2014/main" id="{0492F88E-7671-4FAE-931F-406591D04D30}"/>
              </a:ext>
            </a:extLst>
          </p:cNvPr>
          <p:cNvCxnSpPr>
            <a:cxnSpLocks/>
          </p:cNvCxnSpPr>
          <p:nvPr/>
        </p:nvCxnSpPr>
        <p:spPr bwMode="gray">
          <a:xfrm flipV="1">
            <a:off x="9676657" y="4777758"/>
            <a:ext cx="564077" cy="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D8FC7EA4-9CC1-44CC-8C8C-1C7994BA180F}"/>
              </a:ext>
            </a:extLst>
          </p:cNvPr>
          <p:cNvCxnSpPr>
            <a:cxnSpLocks/>
          </p:cNvCxnSpPr>
          <p:nvPr/>
        </p:nvCxnSpPr>
        <p:spPr bwMode="gray">
          <a:xfrm flipV="1">
            <a:off x="10154643" y="2602158"/>
            <a:ext cx="0" cy="121789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Straight Arrow Connector 207">
            <a:extLst>
              <a:ext uri="{FF2B5EF4-FFF2-40B4-BE49-F238E27FC236}">
                <a16:creationId xmlns:a16="http://schemas.microsoft.com/office/drawing/2014/main" id="{F796518E-95E8-4A68-8C4E-2A0E6D017FA7}"/>
              </a:ext>
            </a:extLst>
          </p:cNvPr>
          <p:cNvCxnSpPr>
            <a:cxnSpLocks/>
          </p:cNvCxnSpPr>
          <p:nvPr/>
        </p:nvCxnSpPr>
        <p:spPr bwMode="gray">
          <a:xfrm>
            <a:off x="10154643" y="4350411"/>
            <a:ext cx="9305" cy="41938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CC612250-C21F-4FA6-A4CA-2416EA794E17}"/>
              </a:ext>
            </a:extLst>
          </p:cNvPr>
          <p:cNvSpPr txBox="1"/>
          <p:nvPr/>
        </p:nvSpPr>
        <p:spPr bwMode="gray">
          <a:xfrm>
            <a:off x="9761820" y="3906981"/>
            <a:ext cx="898702" cy="327562"/>
          </a:xfrm>
          <a:prstGeom prst="rect">
            <a:avLst/>
          </a:prstGeom>
          <a:noFill/>
        </p:spPr>
        <p:txBody>
          <a:bodyPr wrap="square" lIns="72000" tIns="72000" rIns="72000" bIns="72000" rtlCol="0">
            <a:noAutofit/>
          </a:bodyPr>
          <a:lstStyle/>
          <a:p>
            <a:r>
              <a:rPr lang="en-US" sz="1400" dirty="0"/>
              <a:t>Distance</a:t>
            </a:r>
          </a:p>
        </p:txBody>
      </p:sp>
    </p:spTree>
    <p:custDataLst>
      <p:tags r:id="rId1"/>
    </p:custDataLst>
    <p:extLst>
      <p:ext uri="{BB962C8B-B14F-4D97-AF65-F5344CB8AC3E}">
        <p14:creationId xmlns:p14="http://schemas.microsoft.com/office/powerpoint/2010/main" val="2612627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32"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circle(out)">
                                      <p:cBhvr>
                                        <p:cTn id="7" dur="500"/>
                                        <p:tgtEl>
                                          <p:spTgt spid="21"/>
                                        </p:tgtEl>
                                      </p:cBhvr>
                                    </p:animEffect>
                                  </p:childTnLst>
                                </p:cTn>
                              </p:par>
                            </p:childTnLst>
                          </p:cTn>
                        </p:par>
                        <p:par>
                          <p:cTn id="8" fill="hold">
                            <p:stCondLst>
                              <p:cond delay="500"/>
                            </p:stCondLst>
                            <p:childTnLst>
                              <p:par>
                                <p:cTn id="9" presetID="42" presetClass="path" presetSubtype="0" repeatCount="indefinite" accel="50000" decel="50000" fill="hold" nodeType="afterEffect">
                                  <p:stCondLst>
                                    <p:cond delay="0"/>
                                  </p:stCondLst>
                                  <p:childTnLst>
                                    <p:animMotion origin="layout" path="M -8.33333E-7 -3.7037E-7 L 0.00091 0.29444 " pathEditMode="relative" rAng="0" ptsTypes="AA">
                                      <p:cBhvr>
                                        <p:cTn id="10" dur="1000" fill="hold"/>
                                        <p:tgtEl>
                                          <p:spTgt spid="21"/>
                                        </p:tgtEl>
                                        <p:attrNameLst>
                                          <p:attrName>ppt_x</p:attrName>
                                          <p:attrName>ppt_y</p:attrName>
                                        </p:attrNameLst>
                                      </p:cBhvr>
                                      <p:rCtr x="39" y="14722"/>
                                    </p:animMotion>
                                  </p:childTnLst>
                                </p:cTn>
                              </p:par>
                              <p:par>
                                <p:cTn id="11" presetID="6" presetClass="entr" presetSubtype="32" fill="hold" nodeType="withEffect">
                                  <p:stCondLst>
                                    <p:cond delay="200"/>
                                  </p:stCondLst>
                                  <p:childTnLst>
                                    <p:set>
                                      <p:cBhvr>
                                        <p:cTn id="12" dur="1" fill="hold">
                                          <p:stCondLst>
                                            <p:cond delay="0"/>
                                          </p:stCondLst>
                                        </p:cTn>
                                        <p:tgtEl>
                                          <p:spTgt spid="22"/>
                                        </p:tgtEl>
                                        <p:attrNameLst>
                                          <p:attrName>style.visibility</p:attrName>
                                        </p:attrNameLst>
                                      </p:cBhvr>
                                      <p:to>
                                        <p:strVal val="visible"/>
                                      </p:to>
                                    </p:set>
                                    <p:animEffect transition="in" filter="circle(out)">
                                      <p:cBhvr>
                                        <p:cTn id="13" dur="1000"/>
                                        <p:tgtEl>
                                          <p:spTgt spid="22"/>
                                        </p:tgtEl>
                                      </p:cBhvr>
                                    </p:animEffect>
                                  </p:childTnLst>
                                </p:cTn>
                              </p:par>
                            </p:childTnLst>
                          </p:cTn>
                        </p:par>
                        <p:par>
                          <p:cTn id="14" fill="hold">
                            <p:stCondLst>
                              <p:cond delay="1700"/>
                            </p:stCondLst>
                            <p:childTnLst>
                              <p:par>
                                <p:cTn id="15" presetID="64" presetClass="path" presetSubtype="0" repeatCount="indefinite" accel="50000" decel="50000" fill="hold" nodeType="afterEffect">
                                  <p:stCondLst>
                                    <p:cond delay="0"/>
                                  </p:stCondLst>
                                  <p:childTnLst>
                                    <p:animMotion origin="layout" path="M -8.33333E-7 4.44444E-6 L -8.33333E-7 -0.30556 " pathEditMode="relative" rAng="0" ptsTypes="AA">
                                      <p:cBhvr>
                                        <p:cTn id="16" dur="1000" fill="hold"/>
                                        <p:tgtEl>
                                          <p:spTgt spid="22"/>
                                        </p:tgtEl>
                                        <p:attrNameLst>
                                          <p:attrName>ppt_x</p:attrName>
                                          <p:attrName>ppt_y</p:attrName>
                                        </p:attrNameLst>
                                      </p:cBhvr>
                                      <p:rCtr x="0" y="-15278"/>
                                    </p:animMotion>
                                  </p:childTnLst>
                                </p:cTn>
                              </p:par>
                            </p:childTnLst>
                          </p:cTn>
                        </p:par>
                        <p:par>
                          <p:cTn id="17" fill="hold">
                            <p:stCondLst>
                              <p:cond delay="2700"/>
                            </p:stCondLst>
                            <p:childTnLst>
                              <p:par>
                                <p:cTn id="18" presetID="6" presetClass="entr" presetSubtype="32" fill="hold" nodeType="afterEffect">
                                  <p:stCondLst>
                                    <p:cond delay="100"/>
                                  </p:stCondLst>
                                  <p:childTnLst>
                                    <p:set>
                                      <p:cBhvr>
                                        <p:cTn id="19" dur="1" fill="hold">
                                          <p:stCondLst>
                                            <p:cond delay="0"/>
                                          </p:stCondLst>
                                        </p:cTn>
                                        <p:tgtEl>
                                          <p:spTgt spid="23"/>
                                        </p:tgtEl>
                                        <p:attrNameLst>
                                          <p:attrName>style.visibility</p:attrName>
                                        </p:attrNameLst>
                                      </p:cBhvr>
                                      <p:to>
                                        <p:strVal val="visible"/>
                                      </p:to>
                                    </p:set>
                                    <p:animEffect transition="in" filter="circle(out)">
                                      <p:cBhvr>
                                        <p:cTn id="20" dur="500"/>
                                        <p:tgtEl>
                                          <p:spTgt spid="23"/>
                                        </p:tgtEl>
                                      </p:cBhvr>
                                    </p:animEffect>
                                  </p:childTnLst>
                                </p:cTn>
                              </p:par>
                            </p:childTnLst>
                          </p:cTn>
                        </p:par>
                        <p:par>
                          <p:cTn id="21" fill="hold">
                            <p:stCondLst>
                              <p:cond delay="3300"/>
                            </p:stCondLst>
                            <p:childTnLst>
                              <p:par>
                                <p:cTn id="22" presetID="42" presetClass="path" presetSubtype="0" repeatCount="indefinite" accel="50000" decel="50000" fill="hold" nodeType="afterEffect">
                                  <p:stCondLst>
                                    <p:cond delay="0"/>
                                  </p:stCondLst>
                                  <p:childTnLst>
                                    <p:animMotion origin="layout" path="M -0.0043 -2.59259E-6 L -0.00299 0.29792 " pathEditMode="relative" rAng="0" ptsTypes="AA">
                                      <p:cBhvr>
                                        <p:cTn id="23" dur="1000" fill="hold"/>
                                        <p:tgtEl>
                                          <p:spTgt spid="23"/>
                                        </p:tgtEl>
                                        <p:attrNameLst>
                                          <p:attrName>ppt_x</p:attrName>
                                          <p:attrName>ppt_y</p:attrName>
                                        </p:attrNameLst>
                                      </p:cBhvr>
                                      <p:rCtr x="65" y="14884"/>
                                    </p:animMotion>
                                  </p:childTnLst>
                                </p:cTn>
                              </p:par>
                            </p:childTnLst>
                          </p:cTn>
                        </p:par>
                        <p:par>
                          <p:cTn id="24" fill="hold">
                            <p:stCondLst>
                              <p:cond delay="4300"/>
                            </p:stCondLst>
                            <p:childTnLst>
                              <p:par>
                                <p:cTn id="25" presetID="6" presetClass="entr" presetSubtype="32" fill="hold" nodeType="afterEffect">
                                  <p:stCondLst>
                                    <p:cond delay="100"/>
                                  </p:stCondLst>
                                  <p:childTnLst>
                                    <p:set>
                                      <p:cBhvr>
                                        <p:cTn id="26" dur="1" fill="hold">
                                          <p:stCondLst>
                                            <p:cond delay="0"/>
                                          </p:stCondLst>
                                        </p:cTn>
                                        <p:tgtEl>
                                          <p:spTgt spid="27"/>
                                        </p:tgtEl>
                                        <p:attrNameLst>
                                          <p:attrName>style.visibility</p:attrName>
                                        </p:attrNameLst>
                                      </p:cBhvr>
                                      <p:to>
                                        <p:strVal val="visible"/>
                                      </p:to>
                                    </p:set>
                                    <p:animEffect transition="in" filter="circle(out)">
                                      <p:cBhvr>
                                        <p:cTn id="27" dur="1000"/>
                                        <p:tgtEl>
                                          <p:spTgt spid="27"/>
                                        </p:tgtEl>
                                      </p:cBhvr>
                                    </p:animEffect>
                                  </p:childTnLst>
                                </p:cTn>
                              </p:par>
                            </p:childTnLst>
                          </p:cTn>
                        </p:par>
                        <p:par>
                          <p:cTn id="28" fill="hold">
                            <p:stCondLst>
                              <p:cond delay="5400"/>
                            </p:stCondLst>
                            <p:childTnLst>
                              <p:par>
                                <p:cTn id="29" presetID="64" presetClass="path" presetSubtype="0" repeatCount="indefinite" accel="50000" decel="50000" fill="hold" nodeType="afterEffect">
                                  <p:stCondLst>
                                    <p:cond delay="0"/>
                                  </p:stCondLst>
                                  <p:childTnLst>
                                    <p:animMotion origin="layout" path="M -8.33333E-7 -1.48148E-6 L -8.33333E-7 -0.30555 " pathEditMode="relative" rAng="0" ptsTypes="AA">
                                      <p:cBhvr>
                                        <p:cTn id="30" dur="1000" fill="hold"/>
                                        <p:tgtEl>
                                          <p:spTgt spid="27"/>
                                        </p:tgtEl>
                                        <p:attrNameLst>
                                          <p:attrName>ppt_x</p:attrName>
                                          <p:attrName>ppt_y</p:attrName>
                                        </p:attrNameLst>
                                      </p:cBhvr>
                                      <p:rCtr x="0" y="-15278"/>
                                    </p:animMotion>
                                  </p:childTnLst>
                                </p:cTn>
                              </p:par>
                            </p:childTnLst>
                          </p:cTn>
                        </p:par>
                        <p:par>
                          <p:cTn id="31" fill="hold">
                            <p:stCondLst>
                              <p:cond delay="6400"/>
                            </p:stCondLst>
                            <p:childTnLst>
                              <p:par>
                                <p:cTn id="32" presetID="6" presetClass="entr" presetSubtype="32" fill="hold" nodeType="afterEffect">
                                  <p:stCondLst>
                                    <p:cond delay="50"/>
                                  </p:stCondLst>
                                  <p:childTnLst>
                                    <p:set>
                                      <p:cBhvr>
                                        <p:cTn id="33" dur="1" fill="hold">
                                          <p:stCondLst>
                                            <p:cond delay="0"/>
                                          </p:stCondLst>
                                        </p:cTn>
                                        <p:tgtEl>
                                          <p:spTgt spid="24"/>
                                        </p:tgtEl>
                                        <p:attrNameLst>
                                          <p:attrName>style.visibility</p:attrName>
                                        </p:attrNameLst>
                                      </p:cBhvr>
                                      <p:to>
                                        <p:strVal val="visible"/>
                                      </p:to>
                                    </p:set>
                                    <p:animEffect transition="in" filter="circle(out)">
                                      <p:cBhvr>
                                        <p:cTn id="34" dur="500"/>
                                        <p:tgtEl>
                                          <p:spTgt spid="24"/>
                                        </p:tgtEl>
                                      </p:cBhvr>
                                    </p:animEffect>
                                  </p:childTnLst>
                                </p:cTn>
                              </p:par>
                            </p:childTnLst>
                          </p:cTn>
                        </p:par>
                        <p:par>
                          <p:cTn id="35" fill="hold">
                            <p:stCondLst>
                              <p:cond delay="6950"/>
                            </p:stCondLst>
                            <p:childTnLst>
                              <p:par>
                                <p:cTn id="36" presetID="42" presetClass="path" presetSubtype="0" repeatCount="indefinite" accel="50000" decel="50000" fill="hold" nodeType="afterEffect">
                                  <p:stCondLst>
                                    <p:cond delay="0"/>
                                  </p:stCondLst>
                                  <p:childTnLst>
                                    <p:animMotion origin="layout" path="M -8.33333E-7 -2.59259E-6 L 0.00143 0.28681 " pathEditMode="relative" rAng="0" ptsTypes="AA">
                                      <p:cBhvr>
                                        <p:cTn id="37" dur="1000" fill="hold"/>
                                        <p:tgtEl>
                                          <p:spTgt spid="24"/>
                                        </p:tgtEl>
                                        <p:attrNameLst>
                                          <p:attrName>ppt_x</p:attrName>
                                          <p:attrName>ppt_y</p:attrName>
                                        </p:attrNameLst>
                                      </p:cBhvr>
                                      <p:rCtr x="65" y="14329"/>
                                    </p:animMotion>
                                  </p:childTnLst>
                                </p:cTn>
                              </p:par>
                            </p:childTnLst>
                          </p:cTn>
                        </p:par>
                        <p:par>
                          <p:cTn id="38" fill="hold">
                            <p:stCondLst>
                              <p:cond delay="7950"/>
                            </p:stCondLst>
                            <p:childTnLst>
                              <p:par>
                                <p:cTn id="39" presetID="6" presetClass="entr" presetSubtype="32" fill="hold" nodeType="after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circle(out)">
                                      <p:cBhvr>
                                        <p:cTn id="41" dur="500"/>
                                        <p:tgtEl>
                                          <p:spTgt spid="28"/>
                                        </p:tgtEl>
                                      </p:cBhvr>
                                    </p:animEffect>
                                  </p:childTnLst>
                                </p:cTn>
                              </p:par>
                            </p:childTnLst>
                          </p:cTn>
                        </p:par>
                        <p:par>
                          <p:cTn id="42" fill="hold">
                            <p:stCondLst>
                              <p:cond delay="8450"/>
                            </p:stCondLst>
                            <p:childTnLst>
                              <p:par>
                                <p:cTn id="43" presetID="64" presetClass="path" presetSubtype="0" repeatCount="indefinite" accel="50000" decel="50000" fill="hold" nodeType="afterEffect">
                                  <p:stCondLst>
                                    <p:cond delay="0"/>
                                  </p:stCondLst>
                                  <p:childTnLst>
                                    <p:animMotion origin="layout" path="M -8.33333E-7 -1.48148E-6 L -8.33333E-7 -0.30555 " pathEditMode="relative" rAng="0" ptsTypes="AA">
                                      <p:cBhvr>
                                        <p:cTn id="44" dur="1000" fill="hold"/>
                                        <p:tgtEl>
                                          <p:spTgt spid="28"/>
                                        </p:tgtEl>
                                        <p:attrNameLst>
                                          <p:attrName>ppt_x</p:attrName>
                                          <p:attrName>ppt_y</p:attrName>
                                        </p:attrNameLst>
                                      </p:cBhvr>
                                      <p:rCtr x="0" y="-15278"/>
                                    </p:animMotion>
                                  </p:childTnLst>
                                </p:cTn>
                              </p:par>
                            </p:childTnLst>
                          </p:cTn>
                        </p:par>
                        <p:par>
                          <p:cTn id="45" fill="hold">
                            <p:stCondLst>
                              <p:cond delay="9450"/>
                            </p:stCondLst>
                            <p:childTnLst>
                              <p:par>
                                <p:cTn id="46" presetID="6" presetClass="entr" presetSubtype="32" fill="hold" nodeType="afterEffect">
                                  <p:stCondLst>
                                    <p:cond delay="300"/>
                                  </p:stCondLst>
                                  <p:childTnLst>
                                    <p:set>
                                      <p:cBhvr>
                                        <p:cTn id="47" dur="1" fill="hold">
                                          <p:stCondLst>
                                            <p:cond delay="0"/>
                                          </p:stCondLst>
                                        </p:cTn>
                                        <p:tgtEl>
                                          <p:spTgt spid="25"/>
                                        </p:tgtEl>
                                        <p:attrNameLst>
                                          <p:attrName>style.visibility</p:attrName>
                                        </p:attrNameLst>
                                      </p:cBhvr>
                                      <p:to>
                                        <p:strVal val="visible"/>
                                      </p:to>
                                    </p:set>
                                    <p:animEffect transition="in" filter="circle(out)">
                                      <p:cBhvr>
                                        <p:cTn id="48" dur="500"/>
                                        <p:tgtEl>
                                          <p:spTgt spid="25"/>
                                        </p:tgtEl>
                                      </p:cBhvr>
                                    </p:animEffect>
                                  </p:childTnLst>
                                </p:cTn>
                              </p:par>
                            </p:childTnLst>
                          </p:cTn>
                        </p:par>
                        <p:par>
                          <p:cTn id="49" fill="hold">
                            <p:stCondLst>
                              <p:cond delay="10250"/>
                            </p:stCondLst>
                            <p:childTnLst>
                              <p:par>
                                <p:cTn id="50" presetID="42" presetClass="path" presetSubtype="0" repeatCount="indefinite" accel="50000" decel="50000" fill="hold" nodeType="afterEffect">
                                  <p:stCondLst>
                                    <p:cond delay="0"/>
                                  </p:stCondLst>
                                  <p:childTnLst>
                                    <p:animMotion origin="layout" path="M -8.33333E-7 -2.59259E-6 L 0.00091 0.28681 " pathEditMode="relative" rAng="0" ptsTypes="AA">
                                      <p:cBhvr>
                                        <p:cTn id="51" dur="1000" fill="hold"/>
                                        <p:tgtEl>
                                          <p:spTgt spid="25"/>
                                        </p:tgtEl>
                                        <p:attrNameLst>
                                          <p:attrName>ppt_x</p:attrName>
                                          <p:attrName>ppt_y</p:attrName>
                                        </p:attrNameLst>
                                      </p:cBhvr>
                                      <p:rCtr x="39" y="14329"/>
                                    </p:animMotion>
                                  </p:childTnLst>
                                </p:cTn>
                              </p:par>
                            </p:childTnLst>
                          </p:cTn>
                        </p:par>
                        <p:par>
                          <p:cTn id="52" fill="hold">
                            <p:stCondLst>
                              <p:cond delay="11250"/>
                            </p:stCondLst>
                            <p:childTnLst>
                              <p:par>
                                <p:cTn id="53" presetID="6" presetClass="entr" presetSubtype="32" fill="hold" nodeType="afterEffect">
                                  <p:stCondLst>
                                    <p:cond delay="500"/>
                                  </p:stCondLst>
                                  <p:childTnLst>
                                    <p:set>
                                      <p:cBhvr>
                                        <p:cTn id="54" dur="1" fill="hold">
                                          <p:stCondLst>
                                            <p:cond delay="0"/>
                                          </p:stCondLst>
                                        </p:cTn>
                                        <p:tgtEl>
                                          <p:spTgt spid="30"/>
                                        </p:tgtEl>
                                        <p:attrNameLst>
                                          <p:attrName>style.visibility</p:attrName>
                                        </p:attrNameLst>
                                      </p:cBhvr>
                                      <p:to>
                                        <p:strVal val="visible"/>
                                      </p:to>
                                    </p:set>
                                    <p:animEffect transition="in" filter="circle(out)">
                                      <p:cBhvr>
                                        <p:cTn id="55" dur="500"/>
                                        <p:tgtEl>
                                          <p:spTgt spid="30"/>
                                        </p:tgtEl>
                                      </p:cBhvr>
                                    </p:animEffect>
                                  </p:childTnLst>
                                </p:cTn>
                              </p:par>
                              <p:par>
                                <p:cTn id="56" presetID="64" presetClass="path" presetSubtype="0" repeatCount="indefinite" accel="50000" decel="50000" fill="hold" nodeType="withEffect">
                                  <p:stCondLst>
                                    <p:cond delay="100"/>
                                  </p:stCondLst>
                                  <p:childTnLst>
                                    <p:animMotion origin="layout" path="M -0.0043 -1.48148E-6 L -0.0043 -0.30555 " pathEditMode="relative" rAng="0" ptsTypes="AA">
                                      <p:cBhvr>
                                        <p:cTn id="57" dur="1000" fill="hold"/>
                                        <p:tgtEl>
                                          <p:spTgt spid="30"/>
                                        </p:tgtEl>
                                        <p:attrNameLst>
                                          <p:attrName>ppt_x</p:attrName>
                                          <p:attrName>ppt_y</p:attrName>
                                        </p:attrNameLst>
                                      </p:cBhvr>
                                      <p:rCtr x="0" y="-15278"/>
                                    </p:animMotion>
                                  </p:childTnLst>
                                </p:cTn>
                              </p:par>
                            </p:childTnLst>
                          </p:cTn>
                        </p:par>
                        <p:par>
                          <p:cTn id="58" fill="hold">
                            <p:stCondLst>
                              <p:cond delay="12350"/>
                            </p:stCondLst>
                            <p:childTnLst>
                              <p:par>
                                <p:cTn id="59" presetID="6" presetClass="entr" presetSubtype="32" fill="hold" nodeType="afterEffect">
                                  <p:stCondLst>
                                    <p:cond delay="100"/>
                                  </p:stCondLst>
                                  <p:childTnLst>
                                    <p:set>
                                      <p:cBhvr>
                                        <p:cTn id="60" dur="1" fill="hold">
                                          <p:stCondLst>
                                            <p:cond delay="0"/>
                                          </p:stCondLst>
                                        </p:cTn>
                                        <p:tgtEl>
                                          <p:spTgt spid="26"/>
                                        </p:tgtEl>
                                        <p:attrNameLst>
                                          <p:attrName>style.visibility</p:attrName>
                                        </p:attrNameLst>
                                      </p:cBhvr>
                                      <p:to>
                                        <p:strVal val="visible"/>
                                      </p:to>
                                    </p:set>
                                    <p:animEffect transition="in" filter="circle(out)">
                                      <p:cBhvr>
                                        <p:cTn id="61" dur="500"/>
                                        <p:tgtEl>
                                          <p:spTgt spid="26"/>
                                        </p:tgtEl>
                                      </p:cBhvr>
                                    </p:animEffect>
                                  </p:childTnLst>
                                </p:cTn>
                              </p:par>
                            </p:childTnLst>
                          </p:cTn>
                        </p:par>
                        <p:par>
                          <p:cTn id="62" fill="hold">
                            <p:stCondLst>
                              <p:cond delay="12950"/>
                            </p:stCondLst>
                            <p:childTnLst>
                              <p:par>
                                <p:cTn id="63" presetID="42" presetClass="path" presetSubtype="0" repeatCount="indefinite" accel="50000" decel="50000" fill="hold" nodeType="afterEffect">
                                  <p:stCondLst>
                                    <p:cond delay="0"/>
                                  </p:stCondLst>
                                  <p:childTnLst>
                                    <p:animMotion origin="layout" path="M -2.08333E-7 -2.59259E-6 L -0.0043 0.2831 " pathEditMode="relative" rAng="0" ptsTypes="AA">
                                      <p:cBhvr>
                                        <p:cTn id="64" dur="1000" fill="hold"/>
                                        <p:tgtEl>
                                          <p:spTgt spid="26"/>
                                        </p:tgtEl>
                                        <p:attrNameLst>
                                          <p:attrName>ppt_x</p:attrName>
                                          <p:attrName>ppt_y</p:attrName>
                                        </p:attrNameLst>
                                      </p:cBhvr>
                                      <p:rCtr x="-221" y="14144"/>
                                    </p:animMotion>
                                  </p:childTnLst>
                                </p:cTn>
                              </p:par>
                              <p:par>
                                <p:cTn id="65" presetID="6" presetClass="entr" presetSubtype="32" fill="hold" nodeType="withEffect">
                                  <p:stCondLst>
                                    <p:cond delay="1000"/>
                                  </p:stCondLst>
                                  <p:childTnLst>
                                    <p:set>
                                      <p:cBhvr>
                                        <p:cTn id="66" dur="1" fill="hold">
                                          <p:stCondLst>
                                            <p:cond delay="0"/>
                                          </p:stCondLst>
                                        </p:cTn>
                                        <p:tgtEl>
                                          <p:spTgt spid="29"/>
                                        </p:tgtEl>
                                        <p:attrNameLst>
                                          <p:attrName>style.visibility</p:attrName>
                                        </p:attrNameLst>
                                      </p:cBhvr>
                                      <p:to>
                                        <p:strVal val="visible"/>
                                      </p:to>
                                    </p:set>
                                    <p:animEffect transition="in" filter="circle(out)">
                                      <p:cBhvr>
                                        <p:cTn id="67" dur="500"/>
                                        <p:tgtEl>
                                          <p:spTgt spid="29"/>
                                        </p:tgtEl>
                                      </p:cBhvr>
                                    </p:animEffect>
                                  </p:childTnLst>
                                </p:cTn>
                              </p:par>
                            </p:childTnLst>
                          </p:cTn>
                        </p:par>
                        <p:par>
                          <p:cTn id="68" fill="hold">
                            <p:stCondLst>
                              <p:cond delay="14450"/>
                            </p:stCondLst>
                            <p:childTnLst>
                              <p:par>
                                <p:cTn id="69" presetID="64" presetClass="path" presetSubtype="0" repeatCount="indefinite" accel="50000" decel="50000" fill="hold" nodeType="afterEffect">
                                  <p:stCondLst>
                                    <p:cond delay="0"/>
                                  </p:stCondLst>
                                  <p:childTnLst>
                                    <p:animMotion origin="layout" path="M -8.33333E-7 -1.48148E-6 L -8.33333E-7 -0.30555 " pathEditMode="relative" rAng="0" ptsTypes="AA">
                                      <p:cBhvr>
                                        <p:cTn id="70" dur="1000" fill="hold"/>
                                        <p:tgtEl>
                                          <p:spTgt spid="29"/>
                                        </p:tgtEl>
                                        <p:attrNameLst>
                                          <p:attrName>ppt_x</p:attrName>
                                          <p:attrName>ppt_y</p:attrName>
                                        </p:attrNameLst>
                                      </p:cBhvr>
                                      <p:rCtr x="0" y="-15278"/>
                                    </p:animMotion>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499"/>
                                          </p:stCondLst>
                                        </p:cTn>
                                        <p:tgtEl>
                                          <p:spTgt spid="118"/>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200"/>
                                        </p:tgtEl>
                                        <p:attrNameLst>
                                          <p:attrName>style.visibility</p:attrName>
                                        </p:attrNameLst>
                                      </p:cBhvr>
                                      <p:to>
                                        <p:strVal val="visible"/>
                                      </p:to>
                                    </p:set>
                                  </p:childTnLst>
                                </p:cTn>
                              </p:par>
                              <p:par>
                                <p:cTn id="79" presetID="8" presetClass="emph" presetSubtype="0" repeatCount="indefinite" fill="hold" nodeType="withEffect">
                                  <p:stCondLst>
                                    <p:cond delay="0"/>
                                  </p:stCondLst>
                                  <p:childTnLst>
                                    <p:animRot by="21600000">
                                      <p:cBhvr>
                                        <p:cTn id="80" dur="7000" fill="hold"/>
                                        <p:tgtEl>
                                          <p:spTgt spid="20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2436E-E2F1-4798-9CD2-17F656327B90}"/>
              </a:ext>
            </a:extLst>
          </p:cNvPr>
          <p:cNvSpPr>
            <a:spLocks noGrp="1"/>
          </p:cNvSpPr>
          <p:nvPr>
            <p:ph type="title"/>
          </p:nvPr>
        </p:nvSpPr>
        <p:spPr/>
        <p:txBody>
          <a:bodyPr/>
          <a:lstStyle/>
          <a:p>
            <a:r>
              <a:rPr lang="en-US" dirty="0"/>
              <a:t>Overview</a:t>
            </a:r>
          </a:p>
        </p:txBody>
      </p:sp>
      <p:sp>
        <p:nvSpPr>
          <p:cNvPr id="3" name="Footer Placeholder 2">
            <a:extLst>
              <a:ext uri="{FF2B5EF4-FFF2-40B4-BE49-F238E27FC236}">
                <a16:creationId xmlns:a16="http://schemas.microsoft.com/office/drawing/2014/main" id="{43B240C9-795E-46FB-9E9A-772EEB000F48}"/>
              </a:ext>
            </a:extLst>
          </p:cNvPr>
          <p:cNvSpPr>
            <a:spLocks noGrp="1"/>
          </p:cNvSpPr>
          <p:nvPr>
            <p:ph type="ftr" sz="quarter" idx="10"/>
          </p:nvPr>
        </p:nvSpPr>
        <p:spPr/>
        <p:txBody>
          <a:bodyPr/>
          <a:lstStyle/>
          <a:p>
            <a:pPr lvl="8"/>
            <a:endParaRPr lang="en-US"/>
          </a:p>
        </p:txBody>
      </p:sp>
      <p:sp>
        <p:nvSpPr>
          <p:cNvPr id="5" name="Slide Number Placeholder 4">
            <a:extLst>
              <a:ext uri="{FF2B5EF4-FFF2-40B4-BE49-F238E27FC236}">
                <a16:creationId xmlns:a16="http://schemas.microsoft.com/office/drawing/2014/main" id="{0D920F75-ABB6-4357-923C-EE2215EB1CBA}"/>
              </a:ext>
            </a:extLst>
          </p:cNvPr>
          <p:cNvSpPr>
            <a:spLocks noGrp="1"/>
          </p:cNvSpPr>
          <p:nvPr>
            <p:ph type="sldNum" sz="quarter" idx="12"/>
          </p:nvPr>
        </p:nvSpPr>
        <p:spPr/>
        <p:txBody>
          <a:bodyPr/>
          <a:lstStyle/>
          <a:p>
            <a:r>
              <a:rPr lang="en-US"/>
              <a:t>Slide </a:t>
            </a:r>
            <a:fld id="{619F89D8-7AE3-494A-97F3-03D680869632}" type="slidenum">
              <a:rPr lang="en-US" smtClean="0"/>
              <a:pPr/>
              <a:t>5</a:t>
            </a:fld>
            <a:endParaRPr lang="en-US"/>
          </a:p>
        </p:txBody>
      </p:sp>
      <p:sp>
        <p:nvSpPr>
          <p:cNvPr id="15" name="Text Placeholder 14">
            <a:extLst>
              <a:ext uri="{FF2B5EF4-FFF2-40B4-BE49-F238E27FC236}">
                <a16:creationId xmlns:a16="http://schemas.microsoft.com/office/drawing/2014/main" id="{D62A2587-D783-49C8-A28C-969AB607CD09}"/>
              </a:ext>
            </a:extLst>
          </p:cNvPr>
          <p:cNvSpPr>
            <a:spLocks noGrp="1"/>
          </p:cNvSpPr>
          <p:nvPr>
            <p:ph type="body" sz="quarter" idx="16"/>
          </p:nvPr>
        </p:nvSpPr>
        <p:spPr>
          <a:xfrm>
            <a:off x="333264" y="1729908"/>
            <a:ext cx="4093766" cy="252000"/>
          </a:xfrm>
        </p:spPr>
        <p:txBody>
          <a:bodyPr/>
          <a:lstStyle/>
          <a:p>
            <a:r>
              <a:rPr lang="en-US" altLang="zh-CN" dirty="0"/>
              <a:t> Beam angle</a:t>
            </a:r>
            <a:r>
              <a:rPr lang="zh-CN" altLang="en-US" dirty="0"/>
              <a:t> </a:t>
            </a:r>
            <a:endParaRPr lang="en-US" altLang="zh-CN" dirty="0"/>
          </a:p>
        </p:txBody>
      </p:sp>
      <p:sp>
        <p:nvSpPr>
          <p:cNvPr id="7" name="Content Placeholder 6">
            <a:extLst>
              <a:ext uri="{FF2B5EF4-FFF2-40B4-BE49-F238E27FC236}">
                <a16:creationId xmlns:a16="http://schemas.microsoft.com/office/drawing/2014/main" id="{8A8DB003-CE2D-484B-A35B-82EECC138050}"/>
              </a:ext>
            </a:extLst>
          </p:cNvPr>
          <p:cNvSpPr>
            <a:spLocks noGrp="1"/>
          </p:cNvSpPr>
          <p:nvPr>
            <p:ph sz="quarter" idx="19"/>
          </p:nvPr>
        </p:nvSpPr>
        <p:spPr>
          <a:xfrm>
            <a:off x="333263" y="2317640"/>
            <a:ext cx="4217472" cy="3594475"/>
          </a:xfrm>
        </p:spPr>
        <p:txBody>
          <a:bodyPr/>
          <a:lstStyle/>
          <a:p>
            <a:pPr eaLnBrk="0" hangingPunct="0">
              <a:lnSpc>
                <a:spcPct val="150000"/>
              </a:lnSpc>
              <a:defRPr/>
            </a:pPr>
            <a:r>
              <a:rPr lang="en-US" altLang="zh-CN" dirty="0"/>
              <a:t>We are using sound. The transducer functions much like a speaker of a sound system. Unlike a laser, it is not easy to focus the beam to a small target, so the width of the beam which contains the peak ultrasonic power could be large</a:t>
            </a:r>
          </a:p>
          <a:p>
            <a:pPr eaLnBrk="0" hangingPunct="0">
              <a:lnSpc>
                <a:spcPct val="150000"/>
              </a:lnSpc>
              <a:defRPr/>
            </a:pPr>
            <a:r>
              <a:rPr lang="en-US" altLang="zh-CN" dirty="0"/>
              <a:t>The beam angle α is the angle in which relative power is more than 50%  (or -3dB)of the peak ultrasonic power.</a:t>
            </a:r>
          </a:p>
          <a:p>
            <a:pPr eaLnBrk="0" hangingPunct="0">
              <a:lnSpc>
                <a:spcPct val="150000"/>
              </a:lnSpc>
              <a:defRPr/>
            </a:pPr>
            <a:r>
              <a:rPr lang="en-US" altLang="zh-CN" dirty="0"/>
              <a:t>The beam angle α</a:t>
            </a:r>
            <a:r>
              <a:rPr lang="zh-CN" altLang="en-US" dirty="0"/>
              <a:t> </a:t>
            </a:r>
            <a:r>
              <a:rPr lang="en-US" altLang="zh-CN" dirty="0"/>
              <a:t>is the reference parameter during installation </a:t>
            </a:r>
          </a:p>
          <a:p>
            <a:pPr eaLnBrk="0" hangingPunct="0">
              <a:lnSpc>
                <a:spcPct val="150000"/>
              </a:lnSpc>
              <a:defRPr/>
            </a:pPr>
            <a:endParaRPr lang="en-US" dirty="0"/>
          </a:p>
        </p:txBody>
      </p:sp>
      <p:sp>
        <p:nvSpPr>
          <p:cNvPr id="14" name="Subtitle 13">
            <a:extLst>
              <a:ext uri="{FF2B5EF4-FFF2-40B4-BE49-F238E27FC236}">
                <a16:creationId xmlns:a16="http://schemas.microsoft.com/office/drawing/2014/main" id="{C9294AFE-CB24-461B-9CDB-618C609B8619}"/>
              </a:ext>
            </a:extLst>
          </p:cNvPr>
          <p:cNvSpPr>
            <a:spLocks noGrp="1"/>
          </p:cNvSpPr>
          <p:nvPr>
            <p:ph type="subTitle" idx="13"/>
          </p:nvPr>
        </p:nvSpPr>
        <p:spPr>
          <a:xfrm>
            <a:off x="332367" y="1161104"/>
            <a:ext cx="11520896" cy="504000"/>
          </a:xfrm>
        </p:spPr>
        <p:txBody>
          <a:bodyPr/>
          <a:lstStyle/>
          <a:p>
            <a:r>
              <a:rPr lang="en-US" altLang="zh-CN" dirty="0"/>
              <a:t>An important concepts in ultrasonic measurement </a:t>
            </a:r>
          </a:p>
          <a:p>
            <a:endParaRPr lang="en-US" dirty="0"/>
          </a:p>
        </p:txBody>
      </p:sp>
      <p:grpSp>
        <p:nvGrpSpPr>
          <p:cNvPr id="12" name="Group 11">
            <a:extLst>
              <a:ext uri="{FF2B5EF4-FFF2-40B4-BE49-F238E27FC236}">
                <a16:creationId xmlns:a16="http://schemas.microsoft.com/office/drawing/2014/main" id="{AFB9F3D9-04B9-430B-9B77-CF8EC4542146}"/>
              </a:ext>
            </a:extLst>
          </p:cNvPr>
          <p:cNvGrpSpPr/>
          <p:nvPr/>
        </p:nvGrpSpPr>
        <p:grpSpPr>
          <a:xfrm>
            <a:off x="7312717" y="2647671"/>
            <a:ext cx="2097538" cy="2538367"/>
            <a:chOff x="4463988" y="2384884"/>
            <a:chExt cx="2988332" cy="3815892"/>
          </a:xfrm>
        </p:grpSpPr>
        <p:sp>
          <p:nvSpPr>
            <p:cNvPr id="13" name="Can 33">
              <a:extLst>
                <a:ext uri="{FF2B5EF4-FFF2-40B4-BE49-F238E27FC236}">
                  <a16:creationId xmlns:a16="http://schemas.microsoft.com/office/drawing/2014/main" id="{128CFAFE-3566-46F6-9E40-B5E67B93C4B7}"/>
                </a:ext>
              </a:extLst>
            </p:cNvPr>
            <p:cNvSpPr/>
            <p:nvPr/>
          </p:nvSpPr>
          <p:spPr>
            <a:xfrm>
              <a:off x="4463988" y="2384884"/>
              <a:ext cx="2988332" cy="3815892"/>
            </a:xfrm>
            <a:prstGeom prst="can">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179388" algn="ctr">
                <a:spcBef>
                  <a:spcPts val="1100"/>
                </a:spcBef>
                <a:buClr>
                  <a:schemeClr val="tx2"/>
                </a:buClr>
                <a:buSzPct val="70000"/>
                <a:buFont typeface="Wingdings" pitchFamily="2" charset="2"/>
                <a:buChar char="§"/>
              </a:pPr>
              <a:endParaRPr lang="en-US" dirty="0">
                <a:solidFill>
                  <a:schemeClr val="tx1"/>
                </a:solidFill>
                <a:latin typeface="Arial" pitchFamily="34" charset="0"/>
                <a:cs typeface="Arial" pitchFamily="34" charset="0"/>
              </a:endParaRPr>
            </a:p>
          </p:txBody>
        </p:sp>
        <p:cxnSp>
          <p:nvCxnSpPr>
            <p:cNvPr id="16" name="Straight Connector 15">
              <a:extLst>
                <a:ext uri="{FF2B5EF4-FFF2-40B4-BE49-F238E27FC236}">
                  <a16:creationId xmlns:a16="http://schemas.microsoft.com/office/drawing/2014/main" id="{4F409AD5-492C-4F90-95D1-03975E6C9E96}"/>
                </a:ext>
              </a:extLst>
            </p:cNvPr>
            <p:cNvCxnSpPr/>
            <p:nvPr/>
          </p:nvCxnSpPr>
          <p:spPr>
            <a:xfrm flipV="1">
              <a:off x="5958154" y="2618910"/>
              <a:ext cx="1386154" cy="12601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8E129F51-7745-4B93-8520-C0843CF97440}"/>
                </a:ext>
              </a:extLst>
            </p:cNvPr>
            <p:cNvSpPr/>
            <p:nvPr/>
          </p:nvSpPr>
          <p:spPr>
            <a:xfrm flipH="1" flipV="1">
              <a:off x="5898524" y="2708920"/>
              <a:ext cx="59630" cy="78997"/>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179388" algn="ctr">
                <a:spcBef>
                  <a:spcPts val="1100"/>
                </a:spcBef>
                <a:buClr>
                  <a:schemeClr val="tx2"/>
                </a:buClr>
                <a:buSzPct val="70000"/>
                <a:buFont typeface="Wingdings" pitchFamily="2" charset="2"/>
                <a:buChar char="§"/>
              </a:pPr>
              <a:endParaRPr lang="en-US" dirty="0">
                <a:solidFill>
                  <a:schemeClr val="tx1"/>
                </a:solidFill>
                <a:latin typeface="Arial" pitchFamily="34" charset="0"/>
                <a:cs typeface="Arial" pitchFamily="34" charset="0"/>
              </a:endParaRPr>
            </a:p>
          </p:txBody>
        </p:sp>
        <p:cxnSp>
          <p:nvCxnSpPr>
            <p:cNvPr id="18" name="Straight Connector 17">
              <a:extLst>
                <a:ext uri="{FF2B5EF4-FFF2-40B4-BE49-F238E27FC236}">
                  <a16:creationId xmlns:a16="http://schemas.microsoft.com/office/drawing/2014/main" id="{181DB550-A897-4AF1-905D-DEE58517A7EB}"/>
                </a:ext>
              </a:extLst>
            </p:cNvPr>
            <p:cNvCxnSpPr/>
            <p:nvPr/>
          </p:nvCxnSpPr>
          <p:spPr>
            <a:xfrm flipV="1">
              <a:off x="4512369" y="2728940"/>
              <a:ext cx="1386155" cy="12601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Can 37">
              <a:extLst>
                <a:ext uri="{FF2B5EF4-FFF2-40B4-BE49-F238E27FC236}">
                  <a16:creationId xmlns:a16="http://schemas.microsoft.com/office/drawing/2014/main" id="{FA45535B-D89F-4568-A1D9-BC3AE0BF33CE}"/>
                </a:ext>
              </a:extLst>
            </p:cNvPr>
            <p:cNvSpPr/>
            <p:nvPr/>
          </p:nvSpPr>
          <p:spPr>
            <a:xfrm>
              <a:off x="5258023" y="2542586"/>
              <a:ext cx="108011" cy="252027"/>
            </a:xfrm>
            <a:prstGeom prst="can">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179388" algn="ctr">
                <a:spcBef>
                  <a:spcPts val="1100"/>
                </a:spcBef>
                <a:buClr>
                  <a:schemeClr val="tx2"/>
                </a:buClr>
                <a:buSzPct val="70000"/>
                <a:buFont typeface="Wingdings" pitchFamily="2" charset="2"/>
                <a:buChar char="§"/>
              </a:pPr>
              <a:endParaRPr lang="en-US" dirty="0">
                <a:solidFill>
                  <a:schemeClr val="tx1"/>
                </a:solidFill>
                <a:latin typeface="Arial" pitchFamily="34" charset="0"/>
                <a:cs typeface="Arial" pitchFamily="34" charset="0"/>
              </a:endParaRPr>
            </a:p>
          </p:txBody>
        </p:sp>
      </p:grpSp>
      <p:sp>
        <p:nvSpPr>
          <p:cNvPr id="21" name="Oval 20">
            <a:extLst>
              <a:ext uri="{FF2B5EF4-FFF2-40B4-BE49-F238E27FC236}">
                <a16:creationId xmlns:a16="http://schemas.microsoft.com/office/drawing/2014/main" id="{32096146-AE36-4F33-9F6F-CAA109C3D5DE}"/>
              </a:ext>
            </a:extLst>
          </p:cNvPr>
          <p:cNvSpPr/>
          <p:nvPr/>
        </p:nvSpPr>
        <p:spPr>
          <a:xfrm>
            <a:off x="7346676" y="4729017"/>
            <a:ext cx="2056203" cy="446983"/>
          </a:xfrm>
          <a:prstGeom prst="ellipse">
            <a:avLst/>
          </a:prstGeom>
          <a:solidFill>
            <a:schemeClr val="tx1">
              <a:lumMod val="50000"/>
              <a:lumOff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179388" algn="ctr">
              <a:spcBef>
                <a:spcPts val="1100"/>
              </a:spcBef>
              <a:buClr>
                <a:schemeClr val="tx2"/>
              </a:buClr>
              <a:buSzPct val="70000"/>
              <a:buFont typeface="Wingdings" pitchFamily="2" charset="2"/>
              <a:buChar char="§"/>
            </a:pPr>
            <a:endParaRPr lang="en-US" dirty="0">
              <a:solidFill>
                <a:schemeClr val="tx1"/>
              </a:solidFill>
              <a:latin typeface="Arial" pitchFamily="34" charset="0"/>
              <a:cs typeface="Arial" pitchFamily="34" charset="0"/>
            </a:endParaRPr>
          </a:p>
        </p:txBody>
      </p:sp>
      <p:grpSp>
        <p:nvGrpSpPr>
          <p:cNvPr id="28" name="Group 27">
            <a:extLst>
              <a:ext uri="{FF2B5EF4-FFF2-40B4-BE49-F238E27FC236}">
                <a16:creationId xmlns:a16="http://schemas.microsoft.com/office/drawing/2014/main" id="{B48FCC56-E3B3-4B37-8F91-8D9C18CE4624}"/>
              </a:ext>
            </a:extLst>
          </p:cNvPr>
          <p:cNvGrpSpPr/>
          <p:nvPr/>
        </p:nvGrpSpPr>
        <p:grpSpPr>
          <a:xfrm>
            <a:off x="7308798" y="2932312"/>
            <a:ext cx="1248500" cy="2012447"/>
            <a:chOff x="4837839" y="2039375"/>
            <a:chExt cx="683120" cy="2037697"/>
          </a:xfrm>
          <a:solidFill>
            <a:srgbClr val="00B0F0"/>
          </a:solidFill>
        </p:grpSpPr>
        <p:sp>
          <p:nvSpPr>
            <p:cNvPr id="29" name="Right Triangle 28">
              <a:extLst>
                <a:ext uri="{FF2B5EF4-FFF2-40B4-BE49-F238E27FC236}">
                  <a16:creationId xmlns:a16="http://schemas.microsoft.com/office/drawing/2014/main" id="{E6A2D66F-79CB-4E05-8E96-02EA3037F556}"/>
                </a:ext>
              </a:extLst>
            </p:cNvPr>
            <p:cNvSpPr/>
            <p:nvPr/>
          </p:nvSpPr>
          <p:spPr>
            <a:xfrm>
              <a:off x="5160919" y="2039375"/>
              <a:ext cx="360040" cy="2037697"/>
            </a:xfrm>
            <a:prstGeom prst="rtTriangl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179388" algn="ctr">
                <a:spcBef>
                  <a:spcPts val="1100"/>
                </a:spcBef>
                <a:buClr>
                  <a:schemeClr val="tx2"/>
                </a:buClr>
                <a:buSzPct val="70000"/>
                <a:buFont typeface="Wingdings" pitchFamily="2" charset="2"/>
                <a:buChar char="§"/>
              </a:pPr>
              <a:endParaRPr lang="en-US" dirty="0">
                <a:solidFill>
                  <a:schemeClr val="tx1"/>
                </a:solidFill>
                <a:latin typeface="Arial" pitchFamily="34" charset="0"/>
                <a:cs typeface="Arial" pitchFamily="34" charset="0"/>
              </a:endParaRPr>
            </a:p>
          </p:txBody>
        </p:sp>
        <p:sp>
          <p:nvSpPr>
            <p:cNvPr id="30" name="Right Triangle 29">
              <a:extLst>
                <a:ext uri="{FF2B5EF4-FFF2-40B4-BE49-F238E27FC236}">
                  <a16:creationId xmlns:a16="http://schemas.microsoft.com/office/drawing/2014/main" id="{77F603C1-B68B-46BE-BF5A-EACCBBB90291}"/>
                </a:ext>
              </a:extLst>
            </p:cNvPr>
            <p:cNvSpPr/>
            <p:nvPr/>
          </p:nvSpPr>
          <p:spPr>
            <a:xfrm flipH="1">
              <a:off x="4837839" y="2039375"/>
              <a:ext cx="332420" cy="2037697"/>
            </a:xfrm>
            <a:prstGeom prst="rtTriangl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179388" algn="ctr">
                <a:spcBef>
                  <a:spcPts val="1100"/>
                </a:spcBef>
                <a:buClr>
                  <a:schemeClr val="tx2"/>
                </a:buClr>
                <a:buSzPct val="70000"/>
                <a:buFont typeface="Wingdings" pitchFamily="2" charset="2"/>
                <a:buChar char="§"/>
              </a:pPr>
              <a:endParaRPr lang="en-US" dirty="0">
                <a:solidFill>
                  <a:schemeClr val="tx1"/>
                </a:solidFill>
                <a:latin typeface="Arial" pitchFamily="34" charset="0"/>
                <a:cs typeface="Arial" pitchFamily="34" charset="0"/>
              </a:endParaRPr>
            </a:p>
          </p:txBody>
        </p:sp>
      </p:grpSp>
      <p:grpSp>
        <p:nvGrpSpPr>
          <p:cNvPr id="22" name="Group 21">
            <a:extLst>
              <a:ext uri="{FF2B5EF4-FFF2-40B4-BE49-F238E27FC236}">
                <a16:creationId xmlns:a16="http://schemas.microsoft.com/office/drawing/2014/main" id="{FBFF25FB-9DA6-40BF-81E7-E3606C0F2D05}"/>
              </a:ext>
            </a:extLst>
          </p:cNvPr>
          <p:cNvGrpSpPr/>
          <p:nvPr/>
        </p:nvGrpSpPr>
        <p:grpSpPr>
          <a:xfrm>
            <a:off x="7585438" y="2907062"/>
            <a:ext cx="683121" cy="2037697"/>
            <a:chOff x="4837838" y="2039375"/>
            <a:chExt cx="683121" cy="2037697"/>
          </a:xfrm>
        </p:grpSpPr>
        <p:sp>
          <p:nvSpPr>
            <p:cNvPr id="23" name="Right Triangle 22">
              <a:extLst>
                <a:ext uri="{FF2B5EF4-FFF2-40B4-BE49-F238E27FC236}">
                  <a16:creationId xmlns:a16="http://schemas.microsoft.com/office/drawing/2014/main" id="{BE80678B-A2E3-445D-BC72-FAD5D7D3769F}"/>
                </a:ext>
              </a:extLst>
            </p:cNvPr>
            <p:cNvSpPr/>
            <p:nvPr/>
          </p:nvSpPr>
          <p:spPr>
            <a:xfrm>
              <a:off x="5160919" y="2039375"/>
              <a:ext cx="360040" cy="2037697"/>
            </a:xfrm>
            <a:prstGeom prst="rtTriangle">
              <a:avLst/>
            </a:prstGeom>
            <a:solidFill>
              <a:srgbClr val="FFFF00">
                <a:alpha val="7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179388" algn="ctr">
                <a:spcBef>
                  <a:spcPts val="1100"/>
                </a:spcBef>
                <a:buClr>
                  <a:schemeClr val="tx2"/>
                </a:buClr>
                <a:buSzPct val="70000"/>
                <a:buFont typeface="Wingdings" pitchFamily="2" charset="2"/>
                <a:buChar char="§"/>
              </a:pPr>
              <a:endParaRPr lang="en-US" dirty="0">
                <a:solidFill>
                  <a:schemeClr val="tx1"/>
                </a:solidFill>
                <a:latin typeface="Arial" pitchFamily="34" charset="0"/>
                <a:cs typeface="Arial" pitchFamily="34" charset="0"/>
              </a:endParaRPr>
            </a:p>
          </p:txBody>
        </p:sp>
        <p:sp>
          <p:nvSpPr>
            <p:cNvPr id="24" name="Right Triangle 23">
              <a:extLst>
                <a:ext uri="{FF2B5EF4-FFF2-40B4-BE49-F238E27FC236}">
                  <a16:creationId xmlns:a16="http://schemas.microsoft.com/office/drawing/2014/main" id="{338F7087-89C3-429E-ABAA-ED1CFF93C298}"/>
                </a:ext>
              </a:extLst>
            </p:cNvPr>
            <p:cNvSpPr/>
            <p:nvPr/>
          </p:nvSpPr>
          <p:spPr>
            <a:xfrm flipH="1">
              <a:off x="4837838" y="2039375"/>
              <a:ext cx="332420" cy="2037697"/>
            </a:xfrm>
            <a:prstGeom prst="rtTriangle">
              <a:avLst/>
            </a:prstGeom>
            <a:solidFill>
              <a:srgbClr val="FFFF00">
                <a:alpha val="78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179388" algn="ctr">
                <a:spcBef>
                  <a:spcPts val="1100"/>
                </a:spcBef>
                <a:buClr>
                  <a:schemeClr val="tx2"/>
                </a:buClr>
                <a:buSzPct val="70000"/>
                <a:buFont typeface="Wingdings" pitchFamily="2" charset="2"/>
                <a:buChar char="§"/>
              </a:pPr>
              <a:endParaRPr lang="en-US" dirty="0">
                <a:solidFill>
                  <a:schemeClr val="tx1"/>
                </a:solidFill>
                <a:latin typeface="Arial" pitchFamily="34" charset="0"/>
                <a:cs typeface="Arial" pitchFamily="34" charset="0"/>
              </a:endParaRPr>
            </a:p>
          </p:txBody>
        </p:sp>
      </p:grpSp>
      <p:sp>
        <p:nvSpPr>
          <p:cNvPr id="6" name="TextBox 5">
            <a:extLst>
              <a:ext uri="{FF2B5EF4-FFF2-40B4-BE49-F238E27FC236}">
                <a16:creationId xmlns:a16="http://schemas.microsoft.com/office/drawing/2014/main" id="{E21F548A-9FEB-4626-98AB-5AAD36F060F3}"/>
              </a:ext>
            </a:extLst>
          </p:cNvPr>
          <p:cNvSpPr txBox="1"/>
          <p:nvPr/>
        </p:nvSpPr>
        <p:spPr bwMode="gray">
          <a:xfrm>
            <a:off x="7802759" y="3171216"/>
            <a:ext cx="265814" cy="335732"/>
          </a:xfrm>
          <a:prstGeom prst="rect">
            <a:avLst/>
          </a:prstGeom>
          <a:noFill/>
        </p:spPr>
        <p:txBody>
          <a:bodyPr wrap="square" lIns="72000" tIns="72000" rIns="72000" bIns="72000" rtlCol="0">
            <a:noAutofit/>
          </a:bodyPr>
          <a:lstStyle/>
          <a:p>
            <a:r>
              <a:rPr lang="en-US" altLang="zh-CN" sz="1400" dirty="0"/>
              <a:t>α</a:t>
            </a:r>
            <a:endParaRPr lang="zh-CN" altLang="en-US" sz="1400" dirty="0" err="1"/>
          </a:p>
        </p:txBody>
      </p:sp>
      <p:sp>
        <p:nvSpPr>
          <p:cNvPr id="25" name="Oval 24">
            <a:extLst>
              <a:ext uri="{FF2B5EF4-FFF2-40B4-BE49-F238E27FC236}">
                <a16:creationId xmlns:a16="http://schemas.microsoft.com/office/drawing/2014/main" id="{67105D39-270B-472D-BD84-98805E55CA02}"/>
              </a:ext>
            </a:extLst>
          </p:cNvPr>
          <p:cNvSpPr/>
          <p:nvPr/>
        </p:nvSpPr>
        <p:spPr>
          <a:xfrm>
            <a:off x="7574611" y="4824263"/>
            <a:ext cx="695967" cy="201214"/>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179388" algn="ctr">
              <a:spcBef>
                <a:spcPts val="1100"/>
              </a:spcBef>
              <a:buClr>
                <a:schemeClr val="tx2"/>
              </a:buClr>
              <a:buSzPct val="70000"/>
              <a:buFont typeface="Wingdings" pitchFamily="2" charset="2"/>
              <a:buChar char="§"/>
            </a:pPr>
            <a:endParaRPr lang="en-US" dirty="0">
              <a:solidFill>
                <a:schemeClr val="tx1"/>
              </a:solidFill>
              <a:latin typeface="Arial" pitchFamily="34" charset="0"/>
              <a:cs typeface="Arial" pitchFamily="34" charset="0"/>
            </a:endParaRPr>
          </a:p>
        </p:txBody>
      </p:sp>
      <p:cxnSp>
        <p:nvCxnSpPr>
          <p:cNvPr id="9" name="Straight Arrow Connector 8">
            <a:extLst>
              <a:ext uri="{FF2B5EF4-FFF2-40B4-BE49-F238E27FC236}">
                <a16:creationId xmlns:a16="http://schemas.microsoft.com/office/drawing/2014/main" id="{E58CEA7E-1E0D-4849-A9CA-3F52BF616C1A}"/>
              </a:ext>
            </a:extLst>
          </p:cNvPr>
          <p:cNvCxnSpPr>
            <a:stCxn id="30" idx="5"/>
          </p:cNvCxnSpPr>
          <p:nvPr/>
        </p:nvCxnSpPr>
        <p:spPr bwMode="gray">
          <a:xfrm flipH="1" flipV="1">
            <a:off x="6889898" y="3938535"/>
            <a:ext cx="722672"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3B9C2DA-1941-43C0-A407-88EE6E4BA146}"/>
              </a:ext>
            </a:extLst>
          </p:cNvPr>
          <p:cNvSpPr txBox="1"/>
          <p:nvPr/>
        </p:nvSpPr>
        <p:spPr bwMode="gray">
          <a:xfrm>
            <a:off x="5878723" y="3568757"/>
            <a:ext cx="1045534" cy="992610"/>
          </a:xfrm>
          <a:prstGeom prst="rect">
            <a:avLst/>
          </a:prstGeom>
          <a:noFill/>
        </p:spPr>
        <p:txBody>
          <a:bodyPr wrap="square" lIns="72000" tIns="72000" rIns="72000" bIns="72000" rtlCol="0">
            <a:noAutofit/>
          </a:bodyPr>
          <a:lstStyle/>
          <a:p>
            <a:r>
              <a:rPr lang="en-US" altLang="zh-CN" sz="1400" dirty="0"/>
              <a:t>Peak ultrasonic power</a:t>
            </a:r>
            <a:endParaRPr lang="zh-CN" altLang="en-US" sz="1400" dirty="0" err="1"/>
          </a:p>
        </p:txBody>
      </p:sp>
      <p:cxnSp>
        <p:nvCxnSpPr>
          <p:cNvPr id="31" name="Straight Arrow Connector 30">
            <a:extLst>
              <a:ext uri="{FF2B5EF4-FFF2-40B4-BE49-F238E27FC236}">
                <a16:creationId xmlns:a16="http://schemas.microsoft.com/office/drawing/2014/main" id="{11A008B0-9EB6-4A5C-B702-500D52F605B7}"/>
              </a:ext>
            </a:extLst>
          </p:cNvPr>
          <p:cNvCxnSpPr>
            <a:cxnSpLocks/>
            <a:stCxn id="23" idx="5"/>
          </p:cNvCxnSpPr>
          <p:nvPr/>
        </p:nvCxnSpPr>
        <p:spPr bwMode="gray">
          <a:xfrm>
            <a:off x="8088539" y="3925911"/>
            <a:ext cx="1644797" cy="1262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57272183-FB75-4D4E-BBC5-3D51E50E9C06}"/>
              </a:ext>
            </a:extLst>
          </p:cNvPr>
          <p:cNvSpPr txBox="1"/>
          <p:nvPr/>
        </p:nvSpPr>
        <p:spPr bwMode="gray">
          <a:xfrm>
            <a:off x="9733336" y="3563415"/>
            <a:ext cx="1045534" cy="997952"/>
          </a:xfrm>
          <a:prstGeom prst="rect">
            <a:avLst/>
          </a:prstGeom>
          <a:noFill/>
        </p:spPr>
        <p:txBody>
          <a:bodyPr wrap="square" lIns="72000" tIns="72000" rIns="72000" bIns="72000" rtlCol="0">
            <a:noAutofit/>
          </a:bodyPr>
          <a:lstStyle/>
          <a:p>
            <a:r>
              <a:rPr lang="en-US" altLang="zh-CN" sz="1400" dirty="0"/>
              <a:t>Half peak ultrasonic power</a:t>
            </a:r>
            <a:endParaRPr lang="zh-CN" altLang="en-US" sz="1400" dirty="0" err="1"/>
          </a:p>
        </p:txBody>
      </p:sp>
    </p:spTree>
    <p:extLst>
      <p:ext uri="{BB962C8B-B14F-4D97-AF65-F5344CB8AC3E}">
        <p14:creationId xmlns:p14="http://schemas.microsoft.com/office/powerpoint/2010/main" val="315488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altLang="zh-CN" dirty="0"/>
              <a:t>LST200 ultrasonic level transmitter</a:t>
            </a:r>
            <a:endParaRPr lang="en-US" dirty="0"/>
          </a:p>
        </p:txBody>
      </p:sp>
      <p:sp>
        <p:nvSpPr>
          <p:cNvPr id="3" name="Untertitel 2"/>
          <p:cNvSpPr>
            <a:spLocks noGrp="1"/>
          </p:cNvSpPr>
          <p:nvPr>
            <p:ph type="subTitle" idx="1"/>
          </p:nvPr>
        </p:nvSpPr>
        <p:spPr/>
        <p:txBody>
          <a:bodyPr/>
          <a:lstStyle/>
          <a:p>
            <a:r>
              <a:rPr lang="en-US" altLang="zh-CN" dirty="0"/>
              <a:t>Features</a:t>
            </a:r>
            <a:endParaRPr lang="en-US" dirty="0"/>
          </a:p>
        </p:txBody>
      </p:sp>
    </p:spTree>
    <p:extLst>
      <p:ext uri="{BB962C8B-B14F-4D97-AF65-F5344CB8AC3E}">
        <p14:creationId xmlns:p14="http://schemas.microsoft.com/office/powerpoint/2010/main" val="111232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E4DD9EBF-2D69-411F-B6C5-C8EA66434DDE}"/>
              </a:ext>
            </a:extLst>
          </p:cNvPr>
          <p:cNvSpPr>
            <a:spLocks noGrp="1"/>
          </p:cNvSpPr>
          <p:nvPr>
            <p:ph type="title"/>
          </p:nvPr>
        </p:nvSpPr>
        <p:spPr/>
        <p:txBody>
          <a:bodyPr/>
          <a:lstStyle/>
          <a:p>
            <a:r>
              <a:rPr lang="en-US" dirty="0"/>
              <a:t>LST200 introduction</a:t>
            </a:r>
          </a:p>
        </p:txBody>
      </p:sp>
      <p:sp>
        <p:nvSpPr>
          <p:cNvPr id="5" name="Footer Placeholder 4">
            <a:extLst>
              <a:ext uri="{FF2B5EF4-FFF2-40B4-BE49-F238E27FC236}">
                <a16:creationId xmlns:a16="http://schemas.microsoft.com/office/drawing/2014/main" id="{F62AD946-1460-437E-9A47-A0559EF4496A}"/>
              </a:ext>
            </a:extLst>
          </p:cNvPr>
          <p:cNvSpPr>
            <a:spLocks noGrp="1"/>
          </p:cNvSpPr>
          <p:nvPr>
            <p:ph type="ftr" sz="quarter" idx="10"/>
          </p:nvPr>
        </p:nvSpPr>
        <p:spPr/>
        <p:txBody>
          <a:bodyPr/>
          <a:lstStyle/>
          <a:p>
            <a:pPr lvl="8"/>
            <a:endParaRPr lang="en-US" dirty="0"/>
          </a:p>
        </p:txBody>
      </p:sp>
      <p:sp>
        <p:nvSpPr>
          <p:cNvPr id="6" name="Slide Number Placeholder 5">
            <a:extLst>
              <a:ext uri="{FF2B5EF4-FFF2-40B4-BE49-F238E27FC236}">
                <a16:creationId xmlns:a16="http://schemas.microsoft.com/office/drawing/2014/main" id="{1049DCB2-BA7C-423C-9E59-4E257A0EF844}"/>
              </a:ext>
            </a:extLst>
          </p:cNvPr>
          <p:cNvSpPr>
            <a:spLocks noGrp="1"/>
          </p:cNvSpPr>
          <p:nvPr>
            <p:ph type="sldNum" sz="quarter" idx="12"/>
          </p:nvPr>
        </p:nvSpPr>
        <p:spPr/>
        <p:txBody>
          <a:bodyPr/>
          <a:lstStyle/>
          <a:p>
            <a:r>
              <a:rPr lang="en-US"/>
              <a:t>Slide </a:t>
            </a:r>
            <a:fld id="{619F89D8-7AE3-494A-97F3-03D680869632}" type="slidenum">
              <a:rPr lang="en-US" smtClean="0"/>
              <a:pPr/>
              <a:t>7</a:t>
            </a:fld>
            <a:endParaRPr lang="en-US"/>
          </a:p>
        </p:txBody>
      </p:sp>
      <p:sp>
        <p:nvSpPr>
          <p:cNvPr id="22" name="Text Placeholder 21">
            <a:extLst>
              <a:ext uri="{FF2B5EF4-FFF2-40B4-BE49-F238E27FC236}">
                <a16:creationId xmlns:a16="http://schemas.microsoft.com/office/drawing/2014/main" id="{9BDE332B-0EEA-451E-B968-5E5D1CE7077E}"/>
              </a:ext>
            </a:extLst>
          </p:cNvPr>
          <p:cNvSpPr>
            <a:spLocks noGrp="1"/>
          </p:cNvSpPr>
          <p:nvPr>
            <p:ph type="body" sz="quarter" idx="16"/>
          </p:nvPr>
        </p:nvSpPr>
        <p:spPr/>
        <p:txBody>
          <a:bodyPr/>
          <a:lstStyle/>
          <a:p>
            <a:pPr lvl="1"/>
            <a:r>
              <a:rPr lang="en-US" altLang="zh-CN" dirty="0"/>
              <a:t>LST200</a:t>
            </a:r>
          </a:p>
        </p:txBody>
      </p:sp>
      <p:sp>
        <p:nvSpPr>
          <p:cNvPr id="2" name="Content Placeholder 1">
            <a:extLst>
              <a:ext uri="{FF2B5EF4-FFF2-40B4-BE49-F238E27FC236}">
                <a16:creationId xmlns:a16="http://schemas.microsoft.com/office/drawing/2014/main" id="{E7C10CCD-CF8D-4942-9DE3-4ACA724BEF7E}"/>
              </a:ext>
            </a:extLst>
          </p:cNvPr>
          <p:cNvSpPr>
            <a:spLocks noGrp="1"/>
          </p:cNvSpPr>
          <p:nvPr>
            <p:ph sz="quarter" idx="23"/>
          </p:nvPr>
        </p:nvSpPr>
        <p:spPr>
          <a:xfrm>
            <a:off x="262802" y="3687242"/>
            <a:ext cx="3801198" cy="2227120"/>
          </a:xfrm>
        </p:spPr>
        <p:txBody>
          <a:bodyPr/>
          <a:lstStyle/>
          <a:p>
            <a:r>
              <a:rPr lang="en-US" altLang="zh-CN" dirty="0"/>
              <a:t>2-wire instrument with 4-20mA output</a:t>
            </a:r>
          </a:p>
          <a:p>
            <a:r>
              <a:rPr lang="en-US" altLang="zh-CN" dirty="0"/>
              <a:t>Temperature:-30 to 60 °C</a:t>
            </a:r>
          </a:p>
          <a:p>
            <a:r>
              <a:rPr lang="en-US" altLang="zh-CN" dirty="0"/>
              <a:t>Accuracy and repeatability: ±3mm or 0.25% of full span (largest of the two) with temperature compensation</a:t>
            </a:r>
          </a:p>
          <a:p>
            <a:r>
              <a:rPr lang="de-DE" altLang="zh-CN" dirty="0"/>
              <a:t>IP66/67 /68 </a:t>
            </a:r>
          </a:p>
          <a:p>
            <a:r>
              <a:rPr lang="de-DE" altLang="zh-CN" dirty="0"/>
              <a:t>Housing material: </a:t>
            </a:r>
            <a:r>
              <a:rPr lang="en-US" altLang="zh-CN" dirty="0"/>
              <a:t>poly carbonate</a:t>
            </a:r>
          </a:p>
          <a:p>
            <a:r>
              <a:rPr lang="en-US" altLang="zh-CN" dirty="0">
                <a:highlight>
                  <a:srgbClr val="00FF00"/>
                </a:highlight>
              </a:rPr>
              <a:t>Long proven </a:t>
            </a:r>
            <a:r>
              <a:rPr lang="de-DE" altLang="zh-CN" dirty="0">
                <a:highlight>
                  <a:srgbClr val="00FF00"/>
                </a:highlight>
              </a:rPr>
              <a:t>smart </a:t>
            </a:r>
            <a:r>
              <a:rPr lang="en-US" altLang="zh-CN" dirty="0">
                <a:highlight>
                  <a:srgbClr val="00FF00"/>
                </a:highlight>
              </a:rPr>
              <a:t>algorithm</a:t>
            </a:r>
            <a:endParaRPr lang="de-DE" altLang="zh-CN" dirty="0"/>
          </a:p>
          <a:p>
            <a:pPr lvl="4">
              <a:buFont typeface="ABBvoice" panose="020D0603020503020204" pitchFamily="34" charset="0"/>
              <a:buChar char="–"/>
            </a:pPr>
            <a:endParaRPr lang="en-US" altLang="zh-CN" dirty="0"/>
          </a:p>
        </p:txBody>
      </p:sp>
      <p:sp>
        <p:nvSpPr>
          <p:cNvPr id="23" name="Text Placeholder 22">
            <a:extLst>
              <a:ext uri="{FF2B5EF4-FFF2-40B4-BE49-F238E27FC236}">
                <a16:creationId xmlns:a16="http://schemas.microsoft.com/office/drawing/2014/main" id="{B197E84E-DF6E-4171-A657-FD608FD1C9B5}"/>
              </a:ext>
            </a:extLst>
          </p:cNvPr>
          <p:cNvSpPr>
            <a:spLocks noGrp="1"/>
          </p:cNvSpPr>
          <p:nvPr>
            <p:ph type="body" sz="quarter" idx="24"/>
          </p:nvPr>
        </p:nvSpPr>
        <p:spPr/>
        <p:txBody>
          <a:bodyPr/>
          <a:lstStyle/>
          <a:p>
            <a:r>
              <a:rPr lang="en-US" altLang="zh-CN" dirty="0"/>
              <a:t>Sensor</a:t>
            </a:r>
            <a:endParaRPr lang="en-US" dirty="0"/>
          </a:p>
        </p:txBody>
      </p:sp>
      <p:sp>
        <p:nvSpPr>
          <p:cNvPr id="24" name="Content Placeholder 23">
            <a:extLst>
              <a:ext uri="{FF2B5EF4-FFF2-40B4-BE49-F238E27FC236}">
                <a16:creationId xmlns:a16="http://schemas.microsoft.com/office/drawing/2014/main" id="{FC11916E-2D58-4A29-B862-50136AC37F3E}"/>
              </a:ext>
            </a:extLst>
          </p:cNvPr>
          <p:cNvSpPr>
            <a:spLocks noGrp="1"/>
          </p:cNvSpPr>
          <p:nvPr>
            <p:ph sz="quarter" idx="25"/>
          </p:nvPr>
        </p:nvSpPr>
        <p:spPr>
          <a:xfrm>
            <a:off x="4271795" y="3732476"/>
            <a:ext cx="3643200" cy="2264675"/>
          </a:xfrm>
        </p:spPr>
        <p:txBody>
          <a:bodyPr/>
          <a:lstStyle/>
          <a:p>
            <a:pPr marL="0" lvl="4" indent="0">
              <a:buClr>
                <a:schemeClr val="accent1"/>
              </a:buClr>
              <a:buSzPct val="70000"/>
              <a:buNone/>
            </a:pPr>
            <a:r>
              <a:rPr lang="de-DE" altLang="zh-CN" dirty="0">
                <a:latin typeface="Arial" pitchFamily="34" charset="0"/>
                <a:cs typeface="Arial" pitchFamily="34" charset="0"/>
              </a:rPr>
              <a:t>Range: 8m for liquids</a:t>
            </a:r>
          </a:p>
          <a:p>
            <a:pPr marL="0" lvl="4" indent="0">
              <a:buClr>
                <a:schemeClr val="accent1"/>
              </a:buClr>
              <a:buSzPct val="70000"/>
              <a:buNone/>
            </a:pPr>
            <a:r>
              <a:rPr lang="de-DE" altLang="zh-CN" dirty="0">
                <a:latin typeface="Arial" pitchFamily="34" charset="0"/>
                <a:cs typeface="Arial" pitchFamily="34" charset="0"/>
              </a:rPr>
              <a:t>Minimum blanking distance: 0.35m</a:t>
            </a:r>
          </a:p>
          <a:p>
            <a:pPr marL="0" lvl="4" indent="0">
              <a:buClr>
                <a:schemeClr val="accent1"/>
              </a:buClr>
              <a:buSzPct val="70000"/>
              <a:buNone/>
            </a:pPr>
            <a:r>
              <a:rPr lang="de-DE" altLang="zh-CN" dirty="0">
                <a:latin typeface="Arial" pitchFamily="34" charset="0"/>
                <a:cs typeface="Arial" pitchFamily="34" charset="0"/>
              </a:rPr>
              <a:t>-3dB Beam angle:  </a:t>
            </a:r>
            <a:r>
              <a:rPr lang="en-US" altLang="zh-CN" dirty="0">
                <a:latin typeface="Arial" pitchFamily="34" charset="0"/>
                <a:cs typeface="Arial" pitchFamily="34" charset="0"/>
              </a:rPr>
              <a:t>10</a:t>
            </a:r>
            <a:r>
              <a:rPr lang="en-US" altLang="zh-CN" dirty="0"/>
              <a:t>°</a:t>
            </a:r>
            <a:endParaRPr lang="de-DE" altLang="zh-CN" dirty="0">
              <a:latin typeface="Arial" pitchFamily="34" charset="0"/>
              <a:cs typeface="Arial" pitchFamily="34" charset="0"/>
            </a:endParaRPr>
          </a:p>
          <a:p>
            <a:pPr marL="0" lvl="4" indent="0">
              <a:buClr>
                <a:schemeClr val="accent1"/>
              </a:buClr>
              <a:buSzPct val="70000"/>
              <a:buNone/>
            </a:pPr>
            <a:r>
              <a:rPr lang="de-DE" altLang="zh-CN" dirty="0">
                <a:latin typeface="Arial" pitchFamily="34" charset="0"/>
                <a:cs typeface="Arial" pitchFamily="34" charset="0"/>
              </a:rPr>
              <a:t>Process connection: Using nut or M56X3.0 thread</a:t>
            </a:r>
            <a:r>
              <a:rPr lang="zh-CN" altLang="de-DE" dirty="0">
                <a:latin typeface="Arial" pitchFamily="34" charset="0"/>
                <a:cs typeface="Arial" pitchFamily="34" charset="0"/>
              </a:rPr>
              <a:t>， </a:t>
            </a:r>
            <a:r>
              <a:rPr lang="de-DE" altLang="zh-CN" dirty="0">
                <a:latin typeface="Arial" pitchFamily="34" charset="0"/>
                <a:cs typeface="Arial" pitchFamily="34" charset="0"/>
              </a:rPr>
              <a:t>length 35mm</a:t>
            </a:r>
          </a:p>
          <a:p>
            <a:pPr marL="0" lvl="4" indent="0">
              <a:buClr>
                <a:schemeClr val="accent1"/>
              </a:buClr>
              <a:buSzPct val="70000"/>
              <a:buNone/>
            </a:pPr>
            <a:r>
              <a:rPr lang="de-DE" altLang="zh-CN" dirty="0">
                <a:latin typeface="Arial" pitchFamily="34" charset="0"/>
                <a:cs typeface="Arial" pitchFamily="34" charset="0"/>
              </a:rPr>
              <a:t>Material: Poly carbonate</a:t>
            </a:r>
          </a:p>
          <a:p>
            <a:pPr marL="0" lvl="4" indent="0">
              <a:buClr>
                <a:schemeClr val="accent1"/>
              </a:buClr>
              <a:buSzPct val="70000"/>
              <a:buNone/>
            </a:pPr>
            <a:r>
              <a:rPr lang="en-US" altLang="zh-CN" dirty="0"/>
              <a:t>Pressure: -4 to 44 psi (-0.25 to 3.0 bar)</a:t>
            </a:r>
          </a:p>
          <a:p>
            <a:pPr marL="0" lvl="4" indent="0">
              <a:buClr>
                <a:schemeClr val="accent1"/>
              </a:buClr>
              <a:buSzPct val="70000"/>
              <a:buNone/>
            </a:pPr>
            <a:r>
              <a:rPr lang="en-US" altLang="zh-CN" dirty="0">
                <a:highlight>
                  <a:srgbClr val="00FF00"/>
                </a:highlight>
              </a:rPr>
              <a:t>Active surface for anti-condensation</a:t>
            </a:r>
          </a:p>
          <a:p>
            <a:pPr lvl="2">
              <a:buFont typeface="ABBvoice" panose="020D0603020503020204" pitchFamily="34" charset="0"/>
              <a:buChar char="–"/>
            </a:pPr>
            <a:endParaRPr lang="en-US" altLang="zh-CN" dirty="0"/>
          </a:p>
        </p:txBody>
      </p:sp>
      <p:sp>
        <p:nvSpPr>
          <p:cNvPr id="25" name="Text Placeholder 24">
            <a:extLst>
              <a:ext uri="{FF2B5EF4-FFF2-40B4-BE49-F238E27FC236}">
                <a16:creationId xmlns:a16="http://schemas.microsoft.com/office/drawing/2014/main" id="{DC95FC57-7090-48A2-83D5-0517B2B9257D}"/>
              </a:ext>
            </a:extLst>
          </p:cNvPr>
          <p:cNvSpPr>
            <a:spLocks noGrp="1"/>
          </p:cNvSpPr>
          <p:nvPr>
            <p:ph type="body" sz="quarter" idx="26"/>
          </p:nvPr>
        </p:nvSpPr>
        <p:spPr/>
        <p:txBody>
          <a:bodyPr/>
          <a:lstStyle/>
          <a:p>
            <a:r>
              <a:rPr lang="en-US" dirty="0"/>
              <a:t>HMI options</a:t>
            </a:r>
          </a:p>
        </p:txBody>
      </p:sp>
      <p:sp>
        <p:nvSpPr>
          <p:cNvPr id="26" name="Content Placeholder 25">
            <a:extLst>
              <a:ext uri="{FF2B5EF4-FFF2-40B4-BE49-F238E27FC236}">
                <a16:creationId xmlns:a16="http://schemas.microsoft.com/office/drawing/2014/main" id="{136ADCC3-8F26-4E6E-AC5F-B10088792E80}"/>
              </a:ext>
            </a:extLst>
          </p:cNvPr>
          <p:cNvSpPr>
            <a:spLocks noGrp="1"/>
          </p:cNvSpPr>
          <p:nvPr>
            <p:ph sz="quarter" idx="27"/>
          </p:nvPr>
        </p:nvSpPr>
        <p:spPr>
          <a:xfrm>
            <a:off x="8210326" y="3696731"/>
            <a:ext cx="3877290" cy="2357624"/>
          </a:xfrm>
        </p:spPr>
        <p:txBody>
          <a:bodyPr/>
          <a:lstStyle/>
          <a:p>
            <a:pPr marL="0" lvl="4" indent="0">
              <a:buClr>
                <a:schemeClr val="accent1"/>
              </a:buClr>
              <a:buSzPct val="70000"/>
              <a:buNone/>
            </a:pPr>
            <a:r>
              <a:rPr lang="en-US" altLang="zh-CN" dirty="0"/>
              <a:t>Push buttons</a:t>
            </a:r>
          </a:p>
          <a:p>
            <a:pPr marL="285750" lvl="4" indent="-285750">
              <a:buClr>
                <a:schemeClr val="accent1"/>
              </a:buClr>
              <a:buSzPct val="70000"/>
              <a:buFont typeface="ABBvoice" panose="020D0603020503020204" pitchFamily="34" charset="0"/>
              <a:buChar char="–"/>
            </a:pPr>
            <a:r>
              <a:rPr lang="en-US" altLang="zh-CN" dirty="0">
                <a:highlight>
                  <a:srgbClr val="00FF00"/>
                </a:highlight>
              </a:rPr>
              <a:t>Blue backlight</a:t>
            </a:r>
          </a:p>
          <a:p>
            <a:pPr marL="285750" lvl="4" indent="-285750">
              <a:buClr>
                <a:schemeClr val="accent1"/>
              </a:buClr>
              <a:buSzPct val="70000"/>
              <a:buFont typeface="ABBvoice" panose="020D0603020503020204" pitchFamily="34" charset="0"/>
              <a:buChar char="–"/>
            </a:pPr>
            <a:r>
              <a:rPr lang="en-US" altLang="zh-CN" dirty="0">
                <a:highlight>
                  <a:srgbClr val="00FF00"/>
                </a:highlight>
              </a:rPr>
              <a:t>Easy setup menu for quick commissioning</a:t>
            </a:r>
          </a:p>
          <a:p>
            <a:pPr marL="285750" lvl="4" indent="-285750">
              <a:buClr>
                <a:schemeClr val="accent1"/>
              </a:buClr>
              <a:buSzPct val="70000"/>
              <a:buFont typeface="ABBvoice" panose="020D0603020503020204" pitchFamily="34" charset="0"/>
              <a:buChar char="–"/>
            </a:pPr>
            <a:r>
              <a:rPr lang="en-US" altLang="zh-CN" dirty="0">
                <a:highlight>
                  <a:srgbClr val="00FF00"/>
                </a:highlight>
              </a:rPr>
              <a:t>Real-time waveform &amp; Diagnostics messages </a:t>
            </a:r>
          </a:p>
          <a:p>
            <a:pPr marL="0" lvl="4" indent="0">
              <a:buClr>
                <a:schemeClr val="accent1"/>
              </a:buClr>
              <a:buSzPct val="70000"/>
              <a:buNone/>
            </a:pPr>
            <a:r>
              <a:rPr lang="en-US" altLang="zh-CN" dirty="0"/>
              <a:t>No HMI option</a:t>
            </a:r>
          </a:p>
          <a:p>
            <a:pPr marL="105732" lvl="4" indent="-285750">
              <a:buClr>
                <a:schemeClr val="accent1"/>
              </a:buClr>
              <a:buSzPct val="70000"/>
              <a:buFont typeface="Arial" panose="020B0604020202020204" pitchFamily="34" charset="0"/>
              <a:buChar char="‾"/>
            </a:pPr>
            <a:r>
              <a:rPr lang="en-US" altLang="zh-CN" dirty="0">
                <a:latin typeface="Arial" pitchFamily="34" charset="0"/>
                <a:cs typeface="Arial" pitchFamily="34" charset="0"/>
              </a:rPr>
              <a:t>Low-cost blind version for setup with additional LCD or FDI software in computer(in progress)</a:t>
            </a:r>
            <a:endParaRPr lang="de-DE" altLang="zh-CN" dirty="0">
              <a:latin typeface="Arial" pitchFamily="34" charset="0"/>
              <a:cs typeface="Arial" pitchFamily="34" charset="0"/>
            </a:endParaRPr>
          </a:p>
          <a:p>
            <a:endParaRPr lang="en-US" dirty="0"/>
          </a:p>
        </p:txBody>
      </p:sp>
      <p:sp>
        <p:nvSpPr>
          <p:cNvPr id="21" name="Subtitle 20">
            <a:extLst>
              <a:ext uri="{FF2B5EF4-FFF2-40B4-BE49-F238E27FC236}">
                <a16:creationId xmlns:a16="http://schemas.microsoft.com/office/drawing/2014/main" id="{AA71B517-0530-44DA-9299-D7DCE4FAB017}"/>
              </a:ext>
            </a:extLst>
          </p:cNvPr>
          <p:cNvSpPr>
            <a:spLocks noGrp="1"/>
          </p:cNvSpPr>
          <p:nvPr>
            <p:ph type="subTitle" idx="13"/>
          </p:nvPr>
        </p:nvSpPr>
        <p:spPr/>
        <p:txBody>
          <a:bodyPr/>
          <a:lstStyle/>
          <a:p>
            <a:r>
              <a:rPr lang="en-US" altLang="zh-CN" dirty="0">
                <a:solidFill>
                  <a:schemeClr val="accent1"/>
                </a:solidFill>
              </a:rPr>
              <a:t>At a glance</a:t>
            </a:r>
            <a:endParaRPr lang="en-US" dirty="0"/>
          </a:p>
        </p:txBody>
      </p:sp>
      <p:pic>
        <p:nvPicPr>
          <p:cNvPr id="14" name="Picture 13">
            <a:extLst>
              <a:ext uri="{FF2B5EF4-FFF2-40B4-BE49-F238E27FC236}">
                <a16:creationId xmlns:a16="http://schemas.microsoft.com/office/drawing/2014/main" id="{14E9F8F5-F3E5-4358-A9D8-CB124E50151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6542" y="2387075"/>
            <a:ext cx="2126985" cy="1179883"/>
          </a:xfrm>
          <a:prstGeom prst="rect">
            <a:avLst/>
          </a:prstGeom>
        </p:spPr>
      </p:pic>
      <p:pic>
        <p:nvPicPr>
          <p:cNvPr id="8" name="Picture 7">
            <a:extLst>
              <a:ext uri="{FF2B5EF4-FFF2-40B4-BE49-F238E27FC236}">
                <a16:creationId xmlns:a16="http://schemas.microsoft.com/office/drawing/2014/main" id="{26F4EDB7-964F-4DF9-A169-211E6F4E5B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274368" y="2365317"/>
            <a:ext cx="1379194" cy="1184887"/>
          </a:xfrm>
          <a:prstGeom prst="rect">
            <a:avLst/>
          </a:prstGeom>
        </p:spPr>
      </p:pic>
      <p:pic>
        <p:nvPicPr>
          <p:cNvPr id="10" name="Picture 9" descr="A picture containing sitting, light, cat&#10;&#10;Description automatically generated">
            <a:extLst>
              <a:ext uri="{FF2B5EF4-FFF2-40B4-BE49-F238E27FC236}">
                <a16:creationId xmlns:a16="http://schemas.microsoft.com/office/drawing/2014/main" id="{89B7D25D-2707-45EA-AA10-A5E66B2FC4C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26131" y="2261717"/>
            <a:ext cx="2430482" cy="1305241"/>
          </a:xfrm>
          <a:prstGeom prst="rect">
            <a:avLst/>
          </a:prstGeom>
        </p:spPr>
      </p:pic>
      <p:pic>
        <p:nvPicPr>
          <p:cNvPr id="3" name="Picture 2">
            <a:extLst>
              <a:ext uri="{FF2B5EF4-FFF2-40B4-BE49-F238E27FC236}">
                <a16:creationId xmlns:a16="http://schemas.microsoft.com/office/drawing/2014/main" id="{B06D2061-C026-429E-A181-A2D750FE308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059678" y="2387075"/>
            <a:ext cx="873761" cy="1104485"/>
          </a:xfrm>
          <a:prstGeom prst="rect">
            <a:avLst/>
          </a:prstGeom>
        </p:spPr>
      </p:pic>
      <p:pic>
        <p:nvPicPr>
          <p:cNvPr id="17" name="Picture 16">
            <a:extLst>
              <a:ext uri="{FF2B5EF4-FFF2-40B4-BE49-F238E27FC236}">
                <a16:creationId xmlns:a16="http://schemas.microsoft.com/office/drawing/2014/main" id="{DC9F7B19-9CE7-40D6-93D5-9D77FADFAF9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096000" y="2386855"/>
            <a:ext cx="1465154" cy="1104706"/>
          </a:xfrm>
          <a:prstGeom prst="rect">
            <a:avLst/>
          </a:prstGeom>
        </p:spPr>
      </p:pic>
    </p:spTree>
    <p:extLst>
      <p:ext uri="{BB962C8B-B14F-4D97-AF65-F5344CB8AC3E}">
        <p14:creationId xmlns:p14="http://schemas.microsoft.com/office/powerpoint/2010/main" val="394925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E4DD9EBF-2D69-411F-B6C5-C8EA66434DDE}"/>
              </a:ext>
            </a:extLst>
          </p:cNvPr>
          <p:cNvSpPr>
            <a:spLocks noGrp="1"/>
          </p:cNvSpPr>
          <p:nvPr>
            <p:ph type="title"/>
          </p:nvPr>
        </p:nvSpPr>
        <p:spPr/>
        <p:txBody>
          <a:bodyPr/>
          <a:lstStyle/>
          <a:p>
            <a:r>
              <a:rPr lang="en-US" dirty="0"/>
              <a:t>LST200 introduction</a:t>
            </a:r>
          </a:p>
        </p:txBody>
      </p:sp>
      <p:sp>
        <p:nvSpPr>
          <p:cNvPr id="5" name="Footer Placeholder 4">
            <a:extLst>
              <a:ext uri="{FF2B5EF4-FFF2-40B4-BE49-F238E27FC236}">
                <a16:creationId xmlns:a16="http://schemas.microsoft.com/office/drawing/2014/main" id="{F62AD946-1460-437E-9A47-A0559EF4496A}"/>
              </a:ext>
            </a:extLst>
          </p:cNvPr>
          <p:cNvSpPr>
            <a:spLocks noGrp="1"/>
          </p:cNvSpPr>
          <p:nvPr>
            <p:ph type="ftr" sz="quarter" idx="10"/>
          </p:nvPr>
        </p:nvSpPr>
        <p:spPr/>
        <p:txBody>
          <a:bodyPr/>
          <a:lstStyle/>
          <a:p>
            <a:pPr lvl="8"/>
            <a:endParaRPr lang="en-US" dirty="0"/>
          </a:p>
        </p:txBody>
      </p:sp>
      <p:sp>
        <p:nvSpPr>
          <p:cNvPr id="6" name="Slide Number Placeholder 5">
            <a:extLst>
              <a:ext uri="{FF2B5EF4-FFF2-40B4-BE49-F238E27FC236}">
                <a16:creationId xmlns:a16="http://schemas.microsoft.com/office/drawing/2014/main" id="{1049DCB2-BA7C-423C-9E59-4E257A0EF844}"/>
              </a:ext>
            </a:extLst>
          </p:cNvPr>
          <p:cNvSpPr>
            <a:spLocks noGrp="1"/>
          </p:cNvSpPr>
          <p:nvPr>
            <p:ph type="sldNum" sz="quarter" idx="12"/>
          </p:nvPr>
        </p:nvSpPr>
        <p:spPr/>
        <p:txBody>
          <a:bodyPr/>
          <a:lstStyle/>
          <a:p>
            <a:r>
              <a:rPr lang="en-US"/>
              <a:t>Slide </a:t>
            </a:r>
            <a:fld id="{619F89D8-7AE3-494A-97F3-03D680869632}" type="slidenum">
              <a:rPr lang="en-US" smtClean="0"/>
              <a:pPr/>
              <a:t>8</a:t>
            </a:fld>
            <a:endParaRPr lang="en-US"/>
          </a:p>
        </p:txBody>
      </p:sp>
      <p:sp>
        <p:nvSpPr>
          <p:cNvPr id="22" name="Text Placeholder 21">
            <a:extLst>
              <a:ext uri="{FF2B5EF4-FFF2-40B4-BE49-F238E27FC236}">
                <a16:creationId xmlns:a16="http://schemas.microsoft.com/office/drawing/2014/main" id="{9BDE332B-0EEA-451E-B968-5E5D1CE7077E}"/>
              </a:ext>
            </a:extLst>
          </p:cNvPr>
          <p:cNvSpPr>
            <a:spLocks noGrp="1"/>
          </p:cNvSpPr>
          <p:nvPr>
            <p:ph type="body" sz="quarter" idx="16"/>
          </p:nvPr>
        </p:nvSpPr>
        <p:spPr/>
        <p:txBody>
          <a:bodyPr/>
          <a:lstStyle/>
          <a:p>
            <a:pPr lvl="1"/>
            <a:r>
              <a:rPr lang="en-US" altLang="zh-CN" dirty="0"/>
              <a:t>Saving of Ownership</a:t>
            </a:r>
          </a:p>
        </p:txBody>
      </p:sp>
      <p:sp>
        <p:nvSpPr>
          <p:cNvPr id="2" name="Content Placeholder 1">
            <a:extLst>
              <a:ext uri="{FF2B5EF4-FFF2-40B4-BE49-F238E27FC236}">
                <a16:creationId xmlns:a16="http://schemas.microsoft.com/office/drawing/2014/main" id="{E7C10CCD-CF8D-4942-9DE3-4ACA724BEF7E}"/>
              </a:ext>
            </a:extLst>
          </p:cNvPr>
          <p:cNvSpPr>
            <a:spLocks noGrp="1"/>
          </p:cNvSpPr>
          <p:nvPr>
            <p:ph sz="quarter" idx="23"/>
          </p:nvPr>
        </p:nvSpPr>
        <p:spPr>
          <a:xfrm>
            <a:off x="333264" y="2317184"/>
            <a:ext cx="3502276" cy="3594931"/>
          </a:xfrm>
        </p:spPr>
        <p:txBody>
          <a:bodyPr/>
          <a:lstStyle/>
          <a:p>
            <a:pPr marL="0" lvl="4" indent="0">
              <a:buNone/>
            </a:pPr>
            <a:r>
              <a:rPr lang="en-US" altLang="zh-CN" b="1" dirty="0"/>
              <a:t>Simple commissioning</a:t>
            </a:r>
          </a:p>
          <a:p>
            <a:pPr lvl="1"/>
            <a:r>
              <a:rPr lang="en-US" altLang="zh-CN" dirty="0"/>
              <a:t>Easy setup menu </a:t>
            </a:r>
          </a:p>
          <a:p>
            <a:pPr lvl="1"/>
            <a:r>
              <a:rPr lang="en-US" altLang="zh-CN" dirty="0"/>
              <a:t>Clear backlight </a:t>
            </a:r>
          </a:p>
          <a:p>
            <a:pPr lvl="1"/>
            <a:r>
              <a:rPr lang="en-US" altLang="zh-CN" dirty="0"/>
              <a:t>Essential function</a:t>
            </a:r>
          </a:p>
          <a:p>
            <a:pPr marL="0" lvl="4" indent="0">
              <a:buNone/>
            </a:pPr>
            <a:r>
              <a:rPr lang="en-US" altLang="zh-CN" b="1" dirty="0"/>
              <a:t>Less shutdown</a:t>
            </a:r>
          </a:p>
          <a:p>
            <a:pPr lvl="1"/>
            <a:r>
              <a:rPr lang="en-US" altLang="zh-CN" dirty="0"/>
              <a:t>Non-contact measurement with active sensor surface </a:t>
            </a:r>
          </a:p>
          <a:p>
            <a:pPr lvl="1"/>
            <a:r>
              <a:rPr lang="en-US" altLang="zh-CN" dirty="0"/>
              <a:t>Anti-noise and adaptive algorithm</a:t>
            </a:r>
          </a:p>
          <a:p>
            <a:pPr marL="0" lvl="4" indent="0">
              <a:buNone/>
            </a:pPr>
            <a:r>
              <a:rPr lang="en-US" altLang="zh-CN" b="1" dirty="0"/>
              <a:t>Immediate maintenance and service</a:t>
            </a:r>
          </a:p>
          <a:p>
            <a:pPr lvl="1"/>
            <a:r>
              <a:rPr lang="en-US" altLang="zh-CN" dirty="0"/>
              <a:t>Modular design</a:t>
            </a:r>
          </a:p>
          <a:p>
            <a:pPr lvl="1"/>
            <a:r>
              <a:rPr lang="en-US" altLang="zh-CN" dirty="0"/>
              <a:t>Standby inventory and spare parts</a:t>
            </a:r>
          </a:p>
          <a:p>
            <a:pPr lvl="1"/>
            <a:r>
              <a:rPr lang="en-US" altLang="zh-CN" dirty="0"/>
              <a:t>Waveform display </a:t>
            </a:r>
          </a:p>
          <a:p>
            <a:pPr lvl="1"/>
            <a:r>
              <a:rPr lang="en-US" altLang="zh-CN" dirty="0"/>
              <a:t>Diagnostic message</a:t>
            </a:r>
          </a:p>
          <a:p>
            <a:pPr lvl="4">
              <a:buFont typeface="ABBvoice" panose="020D0603020503020204" pitchFamily="34" charset="0"/>
              <a:buChar char="–"/>
            </a:pPr>
            <a:endParaRPr lang="en-US" altLang="zh-CN" dirty="0"/>
          </a:p>
        </p:txBody>
      </p:sp>
      <p:sp>
        <p:nvSpPr>
          <p:cNvPr id="23" name="Text Placeholder 22">
            <a:extLst>
              <a:ext uri="{FF2B5EF4-FFF2-40B4-BE49-F238E27FC236}">
                <a16:creationId xmlns:a16="http://schemas.microsoft.com/office/drawing/2014/main" id="{B197E84E-DF6E-4171-A657-FD608FD1C9B5}"/>
              </a:ext>
            </a:extLst>
          </p:cNvPr>
          <p:cNvSpPr>
            <a:spLocks noGrp="1"/>
          </p:cNvSpPr>
          <p:nvPr>
            <p:ph type="body" sz="quarter" idx="24"/>
          </p:nvPr>
        </p:nvSpPr>
        <p:spPr/>
        <p:txBody>
          <a:bodyPr/>
          <a:lstStyle/>
          <a:p>
            <a:r>
              <a:rPr lang="en-US" altLang="zh-CN" dirty="0"/>
              <a:t>Saving  from Purchasing</a:t>
            </a:r>
            <a:endParaRPr lang="en-US" dirty="0"/>
          </a:p>
        </p:txBody>
      </p:sp>
      <p:sp>
        <p:nvSpPr>
          <p:cNvPr id="24" name="Content Placeholder 23">
            <a:extLst>
              <a:ext uri="{FF2B5EF4-FFF2-40B4-BE49-F238E27FC236}">
                <a16:creationId xmlns:a16="http://schemas.microsoft.com/office/drawing/2014/main" id="{FC11916E-2D58-4A29-B862-50136AC37F3E}"/>
              </a:ext>
            </a:extLst>
          </p:cNvPr>
          <p:cNvSpPr>
            <a:spLocks noGrp="1"/>
          </p:cNvSpPr>
          <p:nvPr>
            <p:ph sz="quarter" idx="25"/>
          </p:nvPr>
        </p:nvSpPr>
        <p:spPr>
          <a:xfrm>
            <a:off x="4271796" y="2317184"/>
            <a:ext cx="3502276" cy="3594931"/>
          </a:xfrm>
        </p:spPr>
        <p:txBody>
          <a:bodyPr/>
          <a:lstStyle/>
          <a:p>
            <a:pPr marL="0" lvl="2" indent="0">
              <a:buNone/>
            </a:pPr>
            <a:r>
              <a:rPr lang="en-US" altLang="zh-CN" b="1" dirty="0"/>
              <a:t>Lower capital costs </a:t>
            </a:r>
            <a:r>
              <a:rPr lang="en-US" altLang="zh-CN" dirty="0"/>
              <a:t>with essential design  </a:t>
            </a:r>
          </a:p>
          <a:p>
            <a:pPr lvl="1"/>
            <a:r>
              <a:rPr lang="en-US" altLang="zh-CN" dirty="0"/>
              <a:t>IP66/67/68</a:t>
            </a:r>
          </a:p>
          <a:p>
            <a:pPr lvl="1"/>
            <a:r>
              <a:rPr lang="en-US" altLang="zh-CN" dirty="0"/>
              <a:t>Plastic (PC) enclosure with anti-condensation active surface </a:t>
            </a:r>
          </a:p>
          <a:p>
            <a:pPr lvl="1"/>
            <a:r>
              <a:rPr lang="en-US" altLang="zh-CN" dirty="0"/>
              <a:t>4-20mA output</a:t>
            </a:r>
          </a:p>
          <a:p>
            <a:pPr marL="0" lvl="2" indent="0">
              <a:buNone/>
            </a:pPr>
            <a:r>
              <a:rPr lang="en-US" altLang="zh-CN" b="1" dirty="0"/>
              <a:t>Easy selection </a:t>
            </a:r>
            <a:r>
              <a:rPr lang="en-US" altLang="zh-CN" dirty="0"/>
              <a:t>between 2 options</a:t>
            </a:r>
          </a:p>
          <a:p>
            <a:pPr lvl="1"/>
            <a:r>
              <a:rPr lang="en-US" altLang="zh-CN" dirty="0"/>
              <a:t>LCD</a:t>
            </a:r>
          </a:p>
          <a:p>
            <a:pPr lvl="1"/>
            <a:r>
              <a:rPr lang="en-US" altLang="zh-CN" dirty="0"/>
              <a:t>Standard without LCD</a:t>
            </a:r>
          </a:p>
          <a:p>
            <a:pPr marL="0" lvl="2" indent="0">
              <a:buNone/>
            </a:pPr>
            <a:r>
              <a:rPr lang="en-US" altLang="zh-CN" b="1" dirty="0"/>
              <a:t>Fast delivery and status tracking</a:t>
            </a:r>
          </a:p>
          <a:p>
            <a:pPr lvl="1"/>
            <a:r>
              <a:rPr lang="en-US" altLang="zh-CN" dirty="0"/>
              <a:t>2 weeks lead time or less</a:t>
            </a:r>
          </a:p>
          <a:p>
            <a:pPr lvl="1"/>
            <a:r>
              <a:rPr lang="en-US" altLang="zh-CN" dirty="0"/>
              <a:t>Order tracking App</a:t>
            </a:r>
          </a:p>
        </p:txBody>
      </p:sp>
      <p:sp>
        <p:nvSpPr>
          <p:cNvPr id="25" name="Text Placeholder 24">
            <a:extLst>
              <a:ext uri="{FF2B5EF4-FFF2-40B4-BE49-F238E27FC236}">
                <a16:creationId xmlns:a16="http://schemas.microsoft.com/office/drawing/2014/main" id="{DC95FC57-7090-48A2-83D5-0517B2B9257D}"/>
              </a:ext>
            </a:extLst>
          </p:cNvPr>
          <p:cNvSpPr>
            <a:spLocks noGrp="1"/>
          </p:cNvSpPr>
          <p:nvPr>
            <p:ph type="body" sz="quarter" idx="26"/>
          </p:nvPr>
        </p:nvSpPr>
        <p:spPr/>
        <p:txBody>
          <a:bodyPr/>
          <a:lstStyle/>
          <a:p>
            <a:r>
              <a:rPr lang="en-US" altLang="zh-CN" dirty="0"/>
              <a:t>Saving from </a:t>
            </a:r>
            <a:r>
              <a:rPr lang="en-US" dirty="0"/>
              <a:t>Stability</a:t>
            </a:r>
          </a:p>
        </p:txBody>
      </p:sp>
      <p:sp>
        <p:nvSpPr>
          <p:cNvPr id="26" name="Content Placeholder 25">
            <a:extLst>
              <a:ext uri="{FF2B5EF4-FFF2-40B4-BE49-F238E27FC236}">
                <a16:creationId xmlns:a16="http://schemas.microsoft.com/office/drawing/2014/main" id="{136ADCC3-8F26-4E6E-AC5F-B10088792E80}"/>
              </a:ext>
            </a:extLst>
          </p:cNvPr>
          <p:cNvSpPr>
            <a:spLocks noGrp="1"/>
          </p:cNvSpPr>
          <p:nvPr>
            <p:ph sz="quarter" idx="27"/>
          </p:nvPr>
        </p:nvSpPr>
        <p:spPr>
          <a:xfrm>
            <a:off x="8210327" y="2317184"/>
            <a:ext cx="3642938" cy="3594931"/>
          </a:xfrm>
        </p:spPr>
        <p:txBody>
          <a:bodyPr/>
          <a:lstStyle/>
          <a:p>
            <a:r>
              <a:rPr lang="en-US" b="1" dirty="0"/>
              <a:t>We know level measurement: </a:t>
            </a:r>
            <a:r>
              <a:rPr lang="en-US" dirty="0"/>
              <a:t>ABB has 40 years experience in level measurement with various solutions and long operating experience. </a:t>
            </a:r>
          </a:p>
          <a:p>
            <a:r>
              <a:rPr lang="en-US" altLang="zh-CN" dirty="0"/>
              <a:t>LST200 inherits a long-proven algorithm</a:t>
            </a:r>
          </a:p>
          <a:p>
            <a:pPr lvl="1"/>
            <a:r>
              <a:rPr lang="en-US" dirty="0"/>
              <a:t>GAP technology</a:t>
            </a:r>
          </a:p>
          <a:p>
            <a:pPr lvl="1"/>
            <a:r>
              <a:rPr lang="en-US" dirty="0"/>
              <a:t>Noise filtering algorithm</a:t>
            </a:r>
          </a:p>
          <a:p>
            <a:pPr lvl="1"/>
            <a:r>
              <a:rPr lang="en-US" dirty="0"/>
              <a:t>Temperature compensation</a:t>
            </a:r>
          </a:p>
          <a:p>
            <a:r>
              <a:rPr lang="en-US" dirty="0"/>
              <a:t>All-around quality control</a:t>
            </a:r>
          </a:p>
          <a:p>
            <a:pPr lvl="1"/>
            <a:r>
              <a:rPr lang="en-US" dirty="0"/>
              <a:t>Type test by 3</a:t>
            </a:r>
            <a:r>
              <a:rPr lang="en-US" baseline="30000" dirty="0"/>
              <a:t>rd</a:t>
            </a:r>
            <a:r>
              <a:rPr lang="en-US" dirty="0"/>
              <a:t> party</a:t>
            </a:r>
          </a:p>
          <a:p>
            <a:pPr lvl="1"/>
            <a:r>
              <a:rPr lang="en-US" dirty="0"/>
              <a:t>Stress test by accelerating aging speed</a:t>
            </a:r>
          </a:p>
          <a:p>
            <a:pPr lvl="1"/>
            <a:r>
              <a:rPr lang="en-US" dirty="0"/>
              <a:t>Vast field testing on various customer sites</a:t>
            </a:r>
          </a:p>
          <a:p>
            <a:pPr lvl="1"/>
            <a:r>
              <a:rPr lang="en-US" altLang="zh-CN" dirty="0"/>
              <a:t>Routine test for every unit</a:t>
            </a:r>
          </a:p>
          <a:p>
            <a:endParaRPr lang="en-US" dirty="0"/>
          </a:p>
        </p:txBody>
      </p:sp>
      <p:sp>
        <p:nvSpPr>
          <p:cNvPr id="21" name="Subtitle 20">
            <a:extLst>
              <a:ext uri="{FF2B5EF4-FFF2-40B4-BE49-F238E27FC236}">
                <a16:creationId xmlns:a16="http://schemas.microsoft.com/office/drawing/2014/main" id="{AA71B517-0530-44DA-9299-D7DCE4FAB017}"/>
              </a:ext>
            </a:extLst>
          </p:cNvPr>
          <p:cNvSpPr>
            <a:spLocks noGrp="1"/>
          </p:cNvSpPr>
          <p:nvPr>
            <p:ph type="subTitle" idx="13"/>
          </p:nvPr>
        </p:nvSpPr>
        <p:spPr/>
        <p:txBody>
          <a:bodyPr/>
          <a:lstStyle/>
          <a:p>
            <a:r>
              <a:rPr lang="en-US" dirty="0"/>
              <a:t>How LST200 lower your total expenditures </a:t>
            </a:r>
          </a:p>
        </p:txBody>
      </p:sp>
      <p:pic>
        <p:nvPicPr>
          <p:cNvPr id="8" name="Picture 7">
            <a:extLst>
              <a:ext uri="{FF2B5EF4-FFF2-40B4-BE49-F238E27FC236}">
                <a16:creationId xmlns:a16="http://schemas.microsoft.com/office/drawing/2014/main" id="{ECB8B418-CA5C-4BFA-9E6C-E907ABE934A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522530" y="4816452"/>
            <a:ext cx="1041992" cy="1229654"/>
          </a:xfrm>
          <a:prstGeom prst="rect">
            <a:avLst/>
          </a:prstGeom>
        </p:spPr>
      </p:pic>
      <p:pic>
        <p:nvPicPr>
          <p:cNvPr id="15" name="Picture 14">
            <a:extLst>
              <a:ext uri="{FF2B5EF4-FFF2-40B4-BE49-F238E27FC236}">
                <a16:creationId xmlns:a16="http://schemas.microsoft.com/office/drawing/2014/main" id="{5727A8F7-8E8F-451D-9C9A-6F37F094950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475002" y="2435484"/>
            <a:ext cx="1379194" cy="1184887"/>
          </a:xfrm>
          <a:prstGeom prst="rect">
            <a:avLst/>
          </a:prstGeom>
        </p:spPr>
      </p:pic>
    </p:spTree>
    <p:extLst>
      <p:ext uri="{BB962C8B-B14F-4D97-AF65-F5344CB8AC3E}">
        <p14:creationId xmlns:p14="http://schemas.microsoft.com/office/powerpoint/2010/main" val="3388485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2436E-E2F1-4798-9CD2-17F656327B90}"/>
              </a:ext>
            </a:extLst>
          </p:cNvPr>
          <p:cNvSpPr>
            <a:spLocks noGrp="1"/>
          </p:cNvSpPr>
          <p:nvPr>
            <p:ph type="title"/>
          </p:nvPr>
        </p:nvSpPr>
        <p:spPr/>
        <p:txBody>
          <a:bodyPr/>
          <a:lstStyle/>
          <a:p>
            <a:r>
              <a:rPr lang="en-US" dirty="0"/>
              <a:t>LST200 introduction</a:t>
            </a:r>
          </a:p>
        </p:txBody>
      </p:sp>
      <p:sp>
        <p:nvSpPr>
          <p:cNvPr id="3" name="Footer Placeholder 2">
            <a:extLst>
              <a:ext uri="{FF2B5EF4-FFF2-40B4-BE49-F238E27FC236}">
                <a16:creationId xmlns:a16="http://schemas.microsoft.com/office/drawing/2014/main" id="{43B240C9-795E-46FB-9E9A-772EEB000F48}"/>
              </a:ext>
            </a:extLst>
          </p:cNvPr>
          <p:cNvSpPr>
            <a:spLocks noGrp="1"/>
          </p:cNvSpPr>
          <p:nvPr>
            <p:ph type="ftr" sz="quarter" idx="10"/>
          </p:nvPr>
        </p:nvSpPr>
        <p:spPr>
          <a:xfrm>
            <a:off x="2475002" y="6218238"/>
            <a:ext cx="8490250" cy="500072"/>
          </a:xfrm>
        </p:spPr>
        <p:txBody>
          <a:bodyPr/>
          <a:lstStyle/>
          <a:p>
            <a:pPr lvl="8"/>
            <a:endParaRPr lang="en-US"/>
          </a:p>
        </p:txBody>
      </p:sp>
      <p:sp>
        <p:nvSpPr>
          <p:cNvPr id="5" name="Slide Number Placeholder 4">
            <a:extLst>
              <a:ext uri="{FF2B5EF4-FFF2-40B4-BE49-F238E27FC236}">
                <a16:creationId xmlns:a16="http://schemas.microsoft.com/office/drawing/2014/main" id="{0D920F75-ABB6-4357-923C-EE2215EB1CBA}"/>
              </a:ext>
            </a:extLst>
          </p:cNvPr>
          <p:cNvSpPr>
            <a:spLocks noGrp="1"/>
          </p:cNvSpPr>
          <p:nvPr>
            <p:ph type="sldNum" sz="quarter" idx="12"/>
          </p:nvPr>
        </p:nvSpPr>
        <p:spPr/>
        <p:txBody>
          <a:bodyPr/>
          <a:lstStyle/>
          <a:p>
            <a:r>
              <a:rPr lang="en-US"/>
              <a:t>Slide </a:t>
            </a:r>
            <a:fld id="{619F89D8-7AE3-494A-97F3-03D680869632}" type="slidenum">
              <a:rPr lang="en-US" smtClean="0"/>
              <a:pPr/>
              <a:t>9</a:t>
            </a:fld>
            <a:endParaRPr lang="en-US"/>
          </a:p>
        </p:txBody>
      </p:sp>
      <p:sp>
        <p:nvSpPr>
          <p:cNvPr id="15" name="Text Placeholder 14">
            <a:extLst>
              <a:ext uri="{FF2B5EF4-FFF2-40B4-BE49-F238E27FC236}">
                <a16:creationId xmlns:a16="http://schemas.microsoft.com/office/drawing/2014/main" id="{D62A2587-D783-49C8-A28C-969AB607CD09}"/>
              </a:ext>
            </a:extLst>
          </p:cNvPr>
          <p:cNvSpPr>
            <a:spLocks noGrp="1"/>
          </p:cNvSpPr>
          <p:nvPr>
            <p:ph type="body" sz="quarter" idx="16"/>
          </p:nvPr>
        </p:nvSpPr>
        <p:spPr/>
        <p:txBody>
          <a:bodyPr/>
          <a:lstStyle/>
          <a:p>
            <a:r>
              <a:rPr lang="en-US" altLang="zh-CN" dirty="0"/>
              <a:t>Modular design</a:t>
            </a:r>
          </a:p>
        </p:txBody>
      </p:sp>
      <p:sp>
        <p:nvSpPr>
          <p:cNvPr id="7" name="Content Placeholder 6">
            <a:extLst>
              <a:ext uri="{FF2B5EF4-FFF2-40B4-BE49-F238E27FC236}">
                <a16:creationId xmlns:a16="http://schemas.microsoft.com/office/drawing/2014/main" id="{8A8DB003-CE2D-484B-A35B-82EECC138050}"/>
              </a:ext>
            </a:extLst>
          </p:cNvPr>
          <p:cNvSpPr>
            <a:spLocks noGrp="1"/>
          </p:cNvSpPr>
          <p:nvPr>
            <p:ph sz="quarter" idx="19"/>
          </p:nvPr>
        </p:nvSpPr>
        <p:spPr/>
        <p:txBody>
          <a:bodyPr/>
          <a:lstStyle/>
          <a:p>
            <a:r>
              <a:rPr lang="en-US" dirty="0"/>
              <a:t>The main parts of LST200 are LCD, electronics and sensor which are modular designed  for more flexibility</a:t>
            </a:r>
          </a:p>
          <a:p>
            <a:pPr marL="285750" indent="-285750">
              <a:buFont typeface="ABBvoice" panose="020D0603020503020204" pitchFamily="34" charset="0"/>
              <a:buChar char="–"/>
            </a:pPr>
            <a:r>
              <a:rPr lang="en-US" dirty="0"/>
              <a:t>Flexible inventory management and easy assembly for quick delivery</a:t>
            </a:r>
          </a:p>
          <a:p>
            <a:pPr marL="285750" indent="-285750">
              <a:buFont typeface="ABBvoice" panose="020D0603020503020204" pitchFamily="34" charset="0"/>
              <a:buChar char="–"/>
            </a:pPr>
            <a:r>
              <a:rPr lang="en-US" dirty="0"/>
              <a:t>Simple exchangeable parts for quick and cost- effective service </a:t>
            </a:r>
          </a:p>
          <a:p>
            <a:pPr marL="285750" indent="-285750">
              <a:buFont typeface="ABBvoice" panose="020D0603020503020204" pitchFamily="34" charset="0"/>
              <a:buChar char="–"/>
            </a:pPr>
            <a:r>
              <a:rPr lang="en-US" dirty="0"/>
              <a:t>LST200 sees the trend of the future and the modular designed electronics prepared LST200  for direct on-site updating in future</a:t>
            </a:r>
          </a:p>
          <a:p>
            <a:pPr marL="645786" lvl="2" indent="-285750"/>
            <a:r>
              <a:rPr lang="en-US" dirty="0"/>
              <a:t>NB-IoT</a:t>
            </a:r>
          </a:p>
          <a:p>
            <a:pPr marL="645786" lvl="2" indent="-285750"/>
            <a:r>
              <a:rPr lang="en-US" dirty="0"/>
              <a:t>Remote </a:t>
            </a:r>
          </a:p>
          <a:p>
            <a:endParaRPr lang="en-US" dirty="0"/>
          </a:p>
        </p:txBody>
      </p:sp>
      <p:sp>
        <p:nvSpPr>
          <p:cNvPr id="14" name="Subtitle 13">
            <a:extLst>
              <a:ext uri="{FF2B5EF4-FFF2-40B4-BE49-F238E27FC236}">
                <a16:creationId xmlns:a16="http://schemas.microsoft.com/office/drawing/2014/main" id="{C9294AFE-CB24-461B-9CDB-618C609B8619}"/>
              </a:ext>
            </a:extLst>
          </p:cNvPr>
          <p:cNvSpPr>
            <a:spLocks noGrp="1"/>
          </p:cNvSpPr>
          <p:nvPr>
            <p:ph type="subTitle" idx="13"/>
          </p:nvPr>
        </p:nvSpPr>
        <p:spPr/>
        <p:txBody>
          <a:bodyPr/>
          <a:lstStyle/>
          <a:p>
            <a:r>
              <a:rPr lang="en-US" dirty="0"/>
              <a:t>Structure</a:t>
            </a:r>
          </a:p>
        </p:txBody>
      </p:sp>
      <p:pic>
        <p:nvPicPr>
          <p:cNvPr id="6" name="Picture 5">
            <a:extLst>
              <a:ext uri="{FF2B5EF4-FFF2-40B4-BE49-F238E27FC236}">
                <a16:creationId xmlns:a16="http://schemas.microsoft.com/office/drawing/2014/main" id="{5052297F-32AA-48F4-BEA2-D6011580B3C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86529" y="1715518"/>
            <a:ext cx="1661686" cy="3908738"/>
          </a:xfrm>
          <a:prstGeom prst="rect">
            <a:avLst/>
          </a:prstGeom>
        </p:spPr>
      </p:pic>
      <p:pic>
        <p:nvPicPr>
          <p:cNvPr id="9" name="Picture 8">
            <a:extLst>
              <a:ext uri="{FF2B5EF4-FFF2-40B4-BE49-F238E27FC236}">
                <a16:creationId xmlns:a16="http://schemas.microsoft.com/office/drawing/2014/main" id="{905B11A3-A9A8-4B1B-9820-1317F2E4EE0A}"/>
              </a:ext>
            </a:extLst>
          </p:cNvPr>
          <p:cNvPicPr/>
          <p:nvPr/>
        </p:nvPicPr>
        <p:blipFill>
          <a:blip r:embed="rId4" cstate="print">
            <a:extLst>
              <a:ext uri="{28A0092B-C50C-407E-A947-70E740481C1C}">
                <a14:useLocalDpi xmlns:a14="http://schemas.microsoft.com/office/drawing/2010/main"/>
              </a:ext>
            </a:extLst>
          </a:blip>
          <a:srcRect/>
          <a:stretch>
            <a:fillRect/>
          </a:stretch>
        </p:blipFill>
        <p:spPr bwMode="auto">
          <a:xfrm>
            <a:off x="9268288" y="1823497"/>
            <a:ext cx="1768572" cy="934680"/>
          </a:xfrm>
          <a:prstGeom prst="rect">
            <a:avLst/>
          </a:prstGeom>
          <a:noFill/>
          <a:ln>
            <a:noFill/>
          </a:ln>
        </p:spPr>
      </p:pic>
    </p:spTree>
    <p:extLst>
      <p:ext uri="{BB962C8B-B14F-4D97-AF65-F5344CB8AC3E}">
        <p14:creationId xmlns:p14="http://schemas.microsoft.com/office/powerpoint/2010/main" val="1942164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oDxdomqU-Dateien\slide0001_image001.png"/>
</p:tagLst>
</file>

<file path=ppt/tags/tag11.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2.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3.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dzxemwEc-Dateien\slide0001_image001.png"/>
</p:tagLst>
</file>

<file path=ppt/tags/tag14.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jv2JZfDp-Dateien\slide0001_image001.png"/>
</p:tagLst>
</file>

<file path=ppt/tags/tag15.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4Oc9q17e-Dateien\slide0001_image001.png"/>
</p:tagLst>
</file>

<file path=ppt/tags/tag1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7e7EIypK-Dateien\slide0001_image001.png"/>
</p:tagLst>
</file>

<file path=ppt/tags/tag17.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5LlY2GvY-Dateien\slide0001_image001.png"/>
</p:tagLst>
</file>

<file path=ppt/tags/tag18.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E1tFG6K9-Dateien\slide0001_image001.png"/>
</p:tagLst>
</file>

<file path=ppt/tags/tag19.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5PKZpIc8-Dateien\slide0001_image001.p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vRgwGkASfC2G1vTi6_W4A"/>
</p:tagLst>
</file>

<file path=ppt/tags/tag20.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21.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phuXqUL7-Dateien\slide0001_image001.png"/>
</p:tagLst>
</file>

<file path=ppt/tags/tag2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Nyvav4da-Dateien\slide0001_image001.png"/>
</p:tagLst>
</file>

<file path=ppt/tags/tag23.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kDX1Cz1S-Dateien\slide0001_image001.png"/>
</p:tagLst>
</file>

<file path=ppt/tags/tag24.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bffjKIdg-Dateien\slide0001_image001.png"/>
</p:tagLst>
</file>

<file path=ppt/tags/tag25.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l9o6LONi-Dateien\slide0001_image001.png"/>
</p:tagLst>
</file>

<file path=ppt/tags/tag2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TKozVsUE-Dateien\slide0001_image001.png"/>
</p:tagLst>
</file>

<file path=ppt/tags/tag27.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giDZtsaD-Dateien\slide0001_image001.png"/>
</p:tagLst>
</file>

<file path=ppt/tags/tag28.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VG45eHqV-Dateien\slide0001_image001.png"/>
</p:tagLst>
</file>

<file path=ppt/tags/tag29.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NYwhbWNb-Dateien\slide0001_image001.png"/>
</p:tagLst>
</file>

<file path=ppt/tags/tag3.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30.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QnUdW3MS-Dateien\slide0001_image001.png"/>
</p:tagLst>
</file>

<file path=ppt/tags/tag31.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rfrAaSpQ-Dateien\slide0001_image001.png"/>
</p:tagLst>
</file>

<file path=ppt/tags/tag3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gFRuNYe9-Dateien\slide0001_image001.png"/>
</p:tagLst>
</file>

<file path=ppt/tags/tag33.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T6oWjLBH-Dateien\slide0001_image001.png"/>
</p:tagLst>
</file>

<file path=ppt/tags/tag34.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mkXlEbcs-Dateien\slide0001_image001.png"/>
</p:tagLst>
</file>

<file path=ppt/tags/tag35.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90ACWW1j-Dateien\slide0001_image001.png"/>
</p:tagLst>
</file>

<file path=ppt/tags/tag3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1OdRK0SJ-Dateien\slide0001_image001.png"/>
</p:tagLst>
</file>

<file path=ppt/tags/tag37.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UYxctWgh-Dateien\slide0001_image001.png"/>
</p:tagLst>
</file>

<file path=ppt/tags/tag38.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kZxsnA7p-Dateien\slide0001_image001.png"/>
</p:tagLst>
</file>

<file path=ppt/tags/tag39.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NHUrhVXr-Dateien\slide0001_image001.p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jj6cD9ZH-Dateien\slide0001_image001.png"/>
</p:tagLst>
</file>

<file path=ppt/tags/tag41.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pjqfaxrk-Dateien\slide0001_image001.png"/>
</p:tagLst>
</file>

<file path=ppt/tags/tag4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W0Maypdp-Dateien\slide0001_image001.png"/>
</p:tagLst>
</file>

<file path=ppt/tags/tag43.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en09L2W7-Dateien\slide0001_image001.png"/>
</p:tagLst>
</file>

<file path=ppt/tags/tag44.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wzd0wGJk-Dateien\slide0001_image001.png"/>
</p:tagLst>
</file>

<file path=ppt/tags/tag45.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4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dZiKUVZ1-Dateien\slide0001_image001.png"/>
</p:tagLst>
</file>

<file path=ppt/tags/tag47.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ZulVRXF7-Dateien\slide0001_image001.png"/>
</p:tagLst>
</file>

<file path=ppt/tags/tag48.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kMtDhKrt-Dateien\slide0001_image001.png"/>
</p:tagLst>
</file>

<file path=ppt/tags/tag49.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CF6SnyWb-Dateien\slide0001_image001.p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7pUtIN.TP.pOzIcN_o0ug"/>
</p:tagLst>
</file>

<file path=ppt/tags/tag50.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9yZZLDg0-Dateien\slide0001_image001.png"/>
</p:tagLst>
</file>

<file path=ppt/tags/tag51.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t8U6MnZw-Dateien\slide0001_image001.png"/>
</p:tagLst>
</file>

<file path=ppt/tags/tag5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ZZIqENdh-Dateien\slide0001_image001.png"/>
</p:tagLst>
</file>

<file path=ppt/tags/tag53.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RTICU~2\AppData\Local\Temp\articulate\presenter\imgtemp\GseTgTcY-Dateien\slide0001_image001.png"/>
</p:tagLst>
</file>

<file path=ppt/tags/tag6.xml><?xml version="1.0" encoding="utf-8"?>
<p:tagLst xmlns:a="http://schemas.openxmlformats.org/drawingml/2006/main" xmlns:r="http://schemas.openxmlformats.org/officeDocument/2006/relationships" xmlns:p="http://schemas.openxmlformats.org/presentationml/2006/main">
  <p:tag name="TIMING" val="|4.4|6.4|1.5"/>
</p:tagLst>
</file>

<file path=ppt/tags/tag7.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8.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9.xml><?xml version="1.0" encoding="utf-8"?>
<p:tagLst xmlns:a="http://schemas.openxmlformats.org/drawingml/2006/main" xmlns:r="http://schemas.openxmlformats.org/officeDocument/2006/relationships" xmlns:p="http://schemas.openxmlformats.org/presentationml/2006/main">
  <p:tag name="ARTICULATE_PUBLISH_MODE" val="2"/>
</p:tagLst>
</file>

<file path=ppt/theme/theme1.xml><?xml version="1.0" encoding="utf-8"?>
<a:theme xmlns:a="http://schemas.openxmlformats.org/drawingml/2006/main" name="ABB Master">
  <a:themeElements>
    <a:clrScheme name="Custom 2">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fontScheme name="ABBvoice">
      <a:majorFont>
        <a:latin typeface="ABBvoice"/>
        <a:ea typeface="ABBvoice"/>
        <a:cs typeface="ABBvoice"/>
      </a:majorFont>
      <a:minorFont>
        <a:latin typeface="ABBvoice"/>
        <a:ea typeface="ABBvoice"/>
        <a:cs typeface="ABBvo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custClrLst>
    <a:custClr name="Blue">
      <a:srgbClr val="004C97"/>
    </a:custClr>
    <a:custClr name="Green">
      <a:srgbClr val="007A33"/>
    </a:custClr>
    <a:custClr name="Yellow">
      <a:srgbClr val="FFD100"/>
    </a:custClr>
    <a:custClr name="Red Grey">
      <a:srgbClr val="817275"/>
    </a:custClr>
    <a:custClr name="Green Grey">
      <a:srgbClr val="6B7173"/>
    </a:custClr>
    <a:custClr name="Blue Grey">
      <a:srgbClr val="5B6F80"/>
    </a:custClr>
    <a:custClr name="Violet Grey">
      <a:srgbClr val="78838E"/>
    </a:custClr>
  </a:custClrLst>
  <a:extLst>
    <a:ext uri="{05A4C25C-085E-4340-85A3-A5531E510DB2}">
      <thm15:themeFamily xmlns:thm15="http://schemas.microsoft.com/office/thememl/2012/main" name="Presentation4" id="{AB123FCC-75BF-413D-9ADE-5DE1BC5101C9}" vid="{30A3DC37-1BE1-4015-B67A-9AB1D23BAC10}"/>
    </a:ext>
  </a:extLst>
</a:theme>
</file>

<file path=ppt/theme/theme2.xml><?xml version="1.0" encoding="utf-8"?>
<a:theme xmlns:a="http://schemas.openxmlformats.org/drawingml/2006/main" name="Office Theme">
  <a:themeElements>
    <a:clrScheme name="ABB">
      <a:dk1>
        <a:srgbClr val="000000"/>
      </a:dk1>
      <a:lt1>
        <a:srgbClr val="FFFFFF"/>
      </a:lt1>
      <a:dk2>
        <a:srgbClr val="D90000"/>
      </a:dk2>
      <a:lt2>
        <a:srgbClr val="FF000F"/>
      </a:lt2>
      <a:accent1>
        <a:srgbClr val="1E1E1E"/>
      </a:accent1>
      <a:accent2>
        <a:srgbClr val="3C3C3C"/>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ABB">
      <a:dk1>
        <a:srgbClr val="000000"/>
      </a:dk1>
      <a:lt1>
        <a:srgbClr val="FFFFFF"/>
      </a:lt1>
      <a:dk2>
        <a:srgbClr val="D90000"/>
      </a:dk2>
      <a:lt2>
        <a:srgbClr val="FF000F"/>
      </a:lt2>
      <a:accent1>
        <a:srgbClr val="1E1E1E"/>
      </a:accent1>
      <a:accent2>
        <a:srgbClr val="3C3C3C"/>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themeOverride>
</file>

<file path=ppt/theme/themeOverride2.xml><?xml version="1.0" encoding="utf-8"?>
<a:themeOverride xmlns:a="http://schemas.openxmlformats.org/drawingml/2006/main">
  <a:clrScheme name="Custom 2">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themeOverride>
</file>

<file path=ppt/theme/themeOverride3.xml><?xml version="1.0" encoding="utf-8"?>
<a:themeOverride xmlns:a="http://schemas.openxmlformats.org/drawingml/2006/main">
  <a:clrScheme name="Custom 2">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Application xmlns="http://www.sap.com/cof/powerpoint/application">
  <Version>2</Version>
  <Revision>2.4.4.72368</Revision>
</Application>
</file>

<file path=customXml/item2.xml><?xml version="1.0" encoding="utf-8"?>
<ct:contentTypeSchema xmlns:ct="http://schemas.microsoft.com/office/2006/metadata/contentType" xmlns:ma="http://schemas.microsoft.com/office/2006/metadata/properties/metaAttributes" ct:_="" ma:_="" ma:contentTypeName="Document" ma:contentTypeID="0x0101005CBFFBD2F0DC6F4EACDF43583F9FD8E3" ma:contentTypeVersion="13" ma:contentTypeDescription="Create a new document." ma:contentTypeScope="" ma:versionID="46e5df5ee9542df83f6f37b11e92dff0">
  <xsd:schema xmlns:xsd="http://www.w3.org/2001/XMLSchema" xmlns:xs="http://www.w3.org/2001/XMLSchema" xmlns:p="http://schemas.microsoft.com/office/2006/metadata/properties" xmlns:ns3="26ccb3c8-b3b1-4fcd-94ac-d6babacd8561" xmlns:ns4="d1cb5e77-e2f8-4adb-b936-e58cc7b237c5" targetNamespace="http://schemas.microsoft.com/office/2006/metadata/properties" ma:root="true" ma:fieldsID="5f1aa2115a2856de933e3505f63ecf1b" ns3:_="" ns4:_="">
    <xsd:import namespace="26ccb3c8-b3b1-4fcd-94ac-d6babacd8561"/>
    <xsd:import namespace="d1cb5e77-e2f8-4adb-b936-e58cc7b237c5"/>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ccb3c8-b3b1-4fcd-94ac-d6babacd856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1cb5e77-e2f8-4adb-b936-e58cc7b237c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5.xml><?xml version="1.0" encoding="utf-8"?>
<Application xmlns="http://www.sap.com/cof/ao/powerpoint/application">
  <com.sap.ip.bi.pioneer>
    <Version>4</Version>
    <AAO_Revision>2.4.4.72368</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Props1.xml><?xml version="1.0" encoding="utf-8"?>
<ds:datastoreItem xmlns:ds="http://schemas.openxmlformats.org/officeDocument/2006/customXml" ds:itemID="{EC18A79C-FA84-4C21-94FE-DCAE49435807}">
  <ds:schemaRefs>
    <ds:schemaRef ds:uri="http://www.sap.com/cof/powerpoint/application"/>
  </ds:schemaRefs>
</ds:datastoreItem>
</file>

<file path=customXml/itemProps2.xml><?xml version="1.0" encoding="utf-8"?>
<ds:datastoreItem xmlns:ds="http://schemas.openxmlformats.org/officeDocument/2006/customXml" ds:itemID="{4150DAC3-648C-45FC-B524-D2E92B79C4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6ccb3c8-b3b1-4fcd-94ac-d6babacd8561"/>
    <ds:schemaRef ds:uri="d1cb5e77-e2f8-4adb-b936-e58cc7b237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A4F4822-5D24-4853-ADDE-624A7B2A47E8}">
  <ds:schemaRefs>
    <ds:schemaRef ds:uri="http://schemas.microsoft.com/sharepoint/v3/contenttype/forms"/>
  </ds:schemaRefs>
</ds:datastoreItem>
</file>

<file path=customXml/itemProps4.xml><?xml version="1.0" encoding="utf-8"?>
<ds:datastoreItem xmlns:ds="http://schemas.openxmlformats.org/officeDocument/2006/customXml" ds:itemID="{175C9394-9158-4614-B143-4E41CC85B74B}">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1cb5e77-e2f8-4adb-b936-e58cc7b237c5"/>
    <ds:schemaRef ds:uri="26ccb3c8-b3b1-4fcd-94ac-d6babacd8561"/>
    <ds:schemaRef ds:uri="http://www.w3.org/XML/1998/namespace"/>
    <ds:schemaRef ds:uri="http://purl.org/dc/dcmitype/"/>
  </ds:schemaRefs>
</ds:datastoreItem>
</file>

<file path=customXml/itemProps5.xml><?xml version="1.0" encoding="utf-8"?>
<ds:datastoreItem xmlns:ds="http://schemas.openxmlformats.org/officeDocument/2006/customXml" ds:itemID="{7D4ADD63-D032-46DA-8AD3-51102B73F213}">
  <ds:schemaRefs>
    <ds:schemaRef ds:uri="http://www.sap.com/cof/ao/powerpoint/application"/>
  </ds:schemaRefs>
</ds:datastoreItem>
</file>

<file path=docProps/app.xml><?xml version="1.0" encoding="utf-8"?>
<Properties xmlns="http://schemas.openxmlformats.org/officeDocument/2006/extended-properties" xmlns:vt="http://schemas.openxmlformats.org/officeDocument/2006/docPropsVTypes">
  <TotalTime>10333</TotalTime>
  <Words>4291</Words>
  <Application>Microsoft Office PowerPoint</Application>
  <PresentationFormat>Widescreen</PresentationFormat>
  <Paragraphs>499</Paragraphs>
  <Slides>32</Slides>
  <Notes>3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2" baseType="lpstr">
      <vt:lpstr>HelveticaNeueLT-Light</vt:lpstr>
      <vt:lpstr>ABBvoice</vt:lpstr>
      <vt:lpstr>ABBvoiceOffice</vt:lpstr>
      <vt:lpstr>Arial</vt:lpstr>
      <vt:lpstr>Calibri</vt:lpstr>
      <vt:lpstr>Symbol</vt:lpstr>
      <vt:lpstr>Times New Roman</vt:lpstr>
      <vt:lpstr>Wingdings</vt:lpstr>
      <vt:lpstr>ABB Master</vt:lpstr>
      <vt:lpstr>think-cell Slide</vt:lpstr>
      <vt:lpstr>LST200 –ultrasonic level transmitter</vt:lpstr>
      <vt:lpstr>Overview</vt:lpstr>
      <vt:lpstr>Overview</vt:lpstr>
      <vt:lpstr>Overview</vt:lpstr>
      <vt:lpstr>Overview</vt:lpstr>
      <vt:lpstr>LST200 ultrasonic level transmitter</vt:lpstr>
      <vt:lpstr>LST200 introduction</vt:lpstr>
      <vt:lpstr>LST200 introduction</vt:lpstr>
      <vt:lpstr>LST200 introduction</vt:lpstr>
      <vt:lpstr>LST200 introduction</vt:lpstr>
      <vt:lpstr>LST200 introduction</vt:lpstr>
      <vt:lpstr>LST200 introduction</vt:lpstr>
      <vt:lpstr>LST200 ultrasonic level transmitter</vt:lpstr>
      <vt:lpstr>LST200 introduction</vt:lpstr>
      <vt:lpstr>LST200 introduction</vt:lpstr>
      <vt:lpstr>LST200 installation </vt:lpstr>
      <vt:lpstr>LST200 installation </vt:lpstr>
      <vt:lpstr>LST200 applications</vt:lpstr>
      <vt:lpstr>LST200 applications</vt:lpstr>
      <vt:lpstr>LST200 applications</vt:lpstr>
      <vt:lpstr>LST200 applications</vt:lpstr>
      <vt:lpstr>LST200 applications</vt:lpstr>
      <vt:lpstr>LST200 applications </vt:lpstr>
      <vt:lpstr>LST200 applications </vt:lpstr>
      <vt:lpstr>LST200 applications</vt:lpstr>
      <vt:lpstr>LST200 applications</vt:lpstr>
      <vt:lpstr>LST200 applications</vt:lpstr>
      <vt:lpstr>LST200 applications</vt:lpstr>
      <vt:lpstr>LST200 applications</vt:lpstr>
      <vt:lpstr>LST200 ultrasonic level transmitter</vt:lpstr>
      <vt:lpstr>LST200 ultrasonic level transmitt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ST200 – Non-contact level measurement</dc:title>
  <dc:creator>Jack-MingYi Wang</dc:creator>
  <cp:lastModifiedBy>Jack-MingYi Wang</cp:lastModifiedBy>
  <cp:revision>79</cp:revision>
  <dcterms:created xsi:type="dcterms:W3CDTF">2020-11-14T03:14:23Z</dcterms:created>
  <dcterms:modified xsi:type="dcterms:W3CDTF">2021-06-17T14:28:08Z</dcterms:modified>
</cp:coreProperties>
</file>